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4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5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6.xml" ContentType="application/vnd.openxmlformats-officedocument.them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7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8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9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0.xml" ContentType="application/vnd.openxmlformats-officedocument.them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ags/tag23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236.xml" ContentType="application/vnd.openxmlformats-officedocument.presentationml.tags+xml"/>
  <Override PartName="/ppt/notesSlides/notesSlide3.xml" ContentType="application/vnd.openxmlformats-officedocument.presentationml.notesSlide+xml"/>
  <Override PartName="/ppt/tags/tag23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5" r:id="rId2"/>
    <p:sldMasterId id="2147483730" r:id="rId3"/>
    <p:sldMasterId id="2147483766" r:id="rId4"/>
    <p:sldMasterId id="2147483800" r:id="rId5"/>
    <p:sldMasterId id="2147483834" r:id="rId6"/>
    <p:sldMasterId id="2147483842" r:id="rId7"/>
    <p:sldMasterId id="2147483850" r:id="rId8"/>
    <p:sldMasterId id="2147483857" r:id="rId9"/>
    <p:sldMasterId id="2147483907" r:id="rId10"/>
  </p:sldMasterIdLst>
  <p:notesMasterIdLst>
    <p:notesMasterId r:id="rId17"/>
  </p:notesMasterIdLst>
  <p:sldIdLst>
    <p:sldId id="266" r:id="rId11"/>
    <p:sldId id="269" r:id="rId12"/>
    <p:sldId id="265" r:id="rId13"/>
    <p:sldId id="257" r:id="rId14"/>
    <p:sldId id="267" r:id="rId15"/>
    <p:sldId id="268" r:id="rId16"/>
  </p:sldIdLst>
  <p:sldSz cx="9144000" cy="5143500" type="screen16x9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277" autoAdjust="0"/>
  </p:normalViewPr>
  <p:slideViewPr>
    <p:cSldViewPr>
      <p:cViewPr>
        <p:scale>
          <a:sx n="100" d="100"/>
          <a:sy n="100" d="100"/>
        </p:scale>
        <p:origin x="-204" y="10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042322932779553E-2"/>
          <c:y val="6.3411402227861027E-2"/>
          <c:w val="0.7595089891130733"/>
          <c:h val="0.837378662565231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n-Premis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1:$F$1</c:f>
              <c:strCache>
                <c:ptCount val="5"/>
                <c:pt idx="0">
                  <c:v>2016</c:v>
                </c:pt>
                <c:pt idx="1">
                  <c:v>2018</c:v>
                </c:pt>
                <c:pt idx="2">
                  <c:v>2020</c:v>
                </c:pt>
                <c:pt idx="3">
                  <c:v>2022</c:v>
                </c:pt>
                <c:pt idx="4">
                  <c:v>2024</c:v>
                </c:pt>
              </c:strCache>
            </c:strRef>
          </c:cat>
          <c:val>
            <c:numRef>
              <c:f>Sheet1!$B$2:$F$2</c:f>
              <c:numCache>
                <c:formatCode>0%</c:formatCode>
                <c:ptCount val="5"/>
                <c:pt idx="0">
                  <c:v>0.78</c:v>
                </c:pt>
                <c:pt idx="1">
                  <c:v>0.63</c:v>
                </c:pt>
                <c:pt idx="2">
                  <c:v>0.42</c:v>
                </c:pt>
                <c:pt idx="3">
                  <c:v>0.28000000000000003</c:v>
                </c:pt>
                <c:pt idx="4">
                  <c:v>0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Off-Premis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:$F$1</c:f>
              <c:strCache>
                <c:ptCount val="5"/>
                <c:pt idx="0">
                  <c:v>2016</c:v>
                </c:pt>
                <c:pt idx="1">
                  <c:v>2018</c:v>
                </c:pt>
                <c:pt idx="2">
                  <c:v>2020</c:v>
                </c:pt>
                <c:pt idx="3">
                  <c:v>2022</c:v>
                </c:pt>
                <c:pt idx="4">
                  <c:v>2024</c:v>
                </c:pt>
              </c:strCache>
            </c:strRef>
          </c:cat>
          <c:val>
            <c:numRef>
              <c:f>Sheet1!$B$3:$F$3</c:f>
              <c:numCache>
                <c:formatCode>0%</c:formatCode>
                <c:ptCount val="5"/>
                <c:pt idx="0">
                  <c:v>0.15</c:v>
                </c:pt>
                <c:pt idx="1">
                  <c:v>0.2</c:v>
                </c:pt>
                <c:pt idx="2">
                  <c:v>0.3</c:v>
                </c:pt>
                <c:pt idx="3">
                  <c:v>0.3</c:v>
                </c:pt>
                <c:pt idx="4">
                  <c:v>0.3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loud Provider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B$1:$F$1</c:f>
              <c:strCache>
                <c:ptCount val="5"/>
                <c:pt idx="0">
                  <c:v>2016</c:v>
                </c:pt>
                <c:pt idx="1">
                  <c:v>2018</c:v>
                </c:pt>
                <c:pt idx="2">
                  <c:v>2020</c:v>
                </c:pt>
                <c:pt idx="3">
                  <c:v>2022</c:v>
                </c:pt>
                <c:pt idx="4">
                  <c:v>2024</c:v>
                </c:pt>
              </c:strCache>
            </c:strRef>
          </c:cat>
          <c:val>
            <c:numRef>
              <c:f>Sheet1!$B$4:$F$4</c:f>
              <c:numCache>
                <c:formatCode>0%</c:formatCode>
                <c:ptCount val="5"/>
                <c:pt idx="0">
                  <c:v>7.0000000000000007E-2</c:v>
                </c:pt>
                <c:pt idx="1">
                  <c:v>0.17</c:v>
                </c:pt>
                <c:pt idx="2">
                  <c:v>0.28000000000000003</c:v>
                </c:pt>
                <c:pt idx="3">
                  <c:v>0.42</c:v>
                </c:pt>
                <c:pt idx="4">
                  <c:v>0.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543040"/>
        <c:axId val="113544576"/>
      </c:lineChart>
      <c:catAx>
        <c:axId val="113543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13544576"/>
        <c:crossesAt val="0"/>
        <c:auto val="1"/>
        <c:lblAlgn val="ctr"/>
        <c:lblOffset val="100"/>
        <c:noMultiLvlLbl val="0"/>
      </c:catAx>
      <c:valAx>
        <c:axId val="113544576"/>
        <c:scaling>
          <c:orientation val="minMax"/>
          <c:max val="0.8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1354304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Fujitsu Sans" panose="020B04040602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414</cdr:x>
      <cdr:y>0.05387</cdr:y>
    </cdr:from>
    <cdr:to>
      <cdr:x>0.31984</cdr:x>
      <cdr:y>0.1581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08212" y="216024"/>
          <a:ext cx="1235519" cy="4182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600" dirty="0" smtClean="0">
              <a:solidFill>
                <a:srgbClr val="FF0000"/>
              </a:solidFill>
              <a:latin typeface="Fujitsu Sans" panose="020B0404060202020204" pitchFamily="34" charset="0"/>
            </a:rPr>
            <a:t>On-premise</a:t>
          </a:r>
          <a:endParaRPr lang="en-US" sz="1600" dirty="0">
            <a:solidFill>
              <a:srgbClr val="FF0000"/>
            </a:solidFill>
            <a:latin typeface="Fujitsu Sans" panose="020B0404060202020204" pitchFamily="34" charset="0"/>
          </a:endParaRPr>
        </a:p>
      </cdr:txBody>
    </cdr:sp>
  </cdr:relSizeAnchor>
  <cdr:relSizeAnchor xmlns:cdr="http://schemas.openxmlformats.org/drawingml/2006/chartDrawing">
    <cdr:from>
      <cdr:x>0.77253</cdr:x>
      <cdr:y>0.37707</cdr:y>
    </cdr:from>
    <cdr:to>
      <cdr:x>0.85866</cdr:x>
      <cdr:y>0.4717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593290" y="1512168"/>
          <a:ext cx="846580" cy="3797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600" dirty="0" smtClean="0">
              <a:solidFill>
                <a:schemeClr val="accent3"/>
              </a:solidFill>
              <a:latin typeface="Fujitsu Sans" panose="020B0404060202020204" pitchFamily="34" charset="0"/>
            </a:rPr>
            <a:t>Cloud</a:t>
          </a:r>
          <a:endParaRPr lang="en-US" sz="1600" dirty="0">
            <a:solidFill>
              <a:schemeClr val="accent3"/>
            </a:solidFill>
            <a:latin typeface="Fujitsu Sans" panose="020B040406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603A23-FB5F-42F9-93ED-98424EDEA66D}" type="datetimeFigureOut">
              <a:rPr lang="en-US" smtClean="0"/>
              <a:t>1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D248F6-2817-475A-B65A-F8AC73716B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631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D248F6-2817-475A-B65A-F8AC73716B9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62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opyright 2011 FUJITSU</a:t>
            </a:r>
          </a:p>
        </p:txBody>
      </p:sp>
    </p:spTree>
    <p:extLst>
      <p:ext uri="{BB962C8B-B14F-4D97-AF65-F5344CB8AC3E}">
        <p14:creationId xmlns:p14="http://schemas.microsoft.com/office/powerpoint/2010/main" val="654911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kumimoji="1" lang="en-US" altLang="ja-JP" sz="120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537CC6-D4DB-44BF-B940-5D0FF6C5B22C}" type="slidenum">
              <a:rPr lang="ja-JP" altLang="en-US" smtClean="0">
                <a:solidFill>
                  <a:prstClr val="black"/>
                </a:solidFill>
              </a:rPr>
              <a:pPr/>
              <a:t>3</a:t>
            </a:fld>
            <a:endParaRPr lang="ja-JP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0444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bildplatzhalter 7"/>
          <p:cNvSpPr>
            <a:spLocks noGrp="1" noRot="1" noChangeAspect="1"/>
          </p:cNvSpPr>
          <p:nvPr>
            <p:ph type="sldImg"/>
          </p:nvPr>
        </p:nvSpPr>
        <p:spPr>
          <a:xfrm>
            <a:off x="2857500" y="514350"/>
            <a:ext cx="3429000" cy="2571750"/>
          </a:xfrm>
        </p:spPr>
      </p:sp>
      <p:sp>
        <p:nvSpPr>
          <p:cNvPr id="9" name="Notizenplatzhalter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2" Type="http://schemas.openxmlformats.org/officeDocument/2006/relationships/tags" Target="../tags/tag84.xml"/><Relationship Id="rId16" Type="http://schemas.openxmlformats.org/officeDocument/2006/relationships/image" Target="../media/image5.jpeg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0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0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10.jpeg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2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0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7.xml"/><Relationship Id="rId1" Type="http://schemas.openxmlformats.org/officeDocument/2006/relationships/tags" Target="../tags/tag14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8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0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0.jpeg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9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0.jpeg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7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93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24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3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0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4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8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9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7.bin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0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Arbeit\Benjamin Domjahn\red\Fujitsu\PPT_Vorlage\PowerPoint Templates Forum\powerpoint_Final 4-3_Master01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5" y="1304104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>
                <a:solidFill>
                  <a:srgbClr val="FFFFFF"/>
                </a:solidFill>
              </a:rPr>
              <a:t>Titelmasterformat durch Klicken bearbeiten</a:t>
            </a:r>
            <a:endParaRPr lang="en-GB" sz="440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04" y="3434404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323850" y="1329929"/>
            <a:ext cx="8496300" cy="17278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3436144"/>
            <a:ext cx="8496300" cy="135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 smtClean="0"/>
          </a:p>
        </p:txBody>
      </p:sp>
      <p:sp>
        <p:nvSpPr>
          <p:cNvPr id="49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47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75129" y="252567"/>
            <a:ext cx="1454400" cy="5452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40640945"/>
      </p:ext>
    </p:extLst>
  </p:cSld>
  <p:clrMapOvr>
    <a:masterClrMapping/>
  </p:clrMapOvr>
  <p:transition spd="slow" advTm="15000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681037"/>
            <a:ext cx="4248596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179388" y="627464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770930"/>
      </p:ext>
    </p:extLst>
  </p:cSld>
  <p:clrMapOvr>
    <a:masterClrMapping/>
  </p:clrMapOvr>
  <p:transition spd="slow" advTm="15000">
    <p:wip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179408" y="1275163"/>
            <a:ext cx="8785225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179408" y="3057817"/>
            <a:ext cx="8785225" cy="178207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77914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068446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31" tIns="45715" rIns="91431" bIns="45715" anchor="ctr"/>
          <a:lstStyle/>
          <a:p>
            <a:pPr defTabSz="914309"/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5" rIns="91431" bIns="45715"/>
          <a:lstStyle/>
          <a:p>
            <a:pPr defTabSz="914309"/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" name="Group 39"/>
          <p:cNvGrpSpPr/>
          <p:nvPr userDrawn="1"/>
        </p:nvGrpSpPr>
        <p:grpSpPr>
          <a:xfrm>
            <a:off x="1932000" y="1360901"/>
            <a:ext cx="5280025" cy="2005013"/>
            <a:chOff x="1931988" y="1814513"/>
            <a:chExt cx="5280025" cy="2673350"/>
          </a:xfrm>
        </p:grpSpPr>
        <p:sp>
          <p:nvSpPr>
            <p:cNvPr id="10" name="Freeform 8"/>
            <p:cNvSpPr>
              <a:spLocks/>
            </p:cNvSpPr>
            <p:nvPr/>
          </p:nvSpPr>
          <p:spPr bwMode="gray">
            <a:xfrm>
              <a:off x="1931988" y="4124325"/>
              <a:ext cx="153988" cy="252413"/>
            </a:xfrm>
            <a:custGeom>
              <a:avLst/>
              <a:gdLst/>
              <a:ahLst/>
              <a:cxnLst>
                <a:cxn ang="0">
                  <a:pos x="0" y="764"/>
                </a:cxn>
                <a:cxn ang="0">
                  <a:pos x="0" y="672"/>
                </a:cxn>
                <a:cxn ang="0">
                  <a:pos x="186" y="715"/>
                </a:cxn>
                <a:cxn ang="0">
                  <a:pos x="371" y="593"/>
                </a:cxn>
                <a:cxn ang="0">
                  <a:pos x="339" y="515"/>
                </a:cxn>
                <a:cxn ang="0">
                  <a:pos x="284" y="472"/>
                </a:cxn>
                <a:cxn ang="0">
                  <a:pos x="212" y="436"/>
                </a:cxn>
                <a:cxn ang="0">
                  <a:pos x="65" y="337"/>
                </a:cxn>
                <a:cxn ang="0">
                  <a:pos x="13" y="199"/>
                </a:cxn>
                <a:cxn ang="0">
                  <a:pos x="94" y="43"/>
                </a:cxn>
                <a:cxn ang="0">
                  <a:pos x="269" y="0"/>
                </a:cxn>
                <a:cxn ang="0">
                  <a:pos x="430" y="26"/>
                </a:cxn>
                <a:cxn ang="0">
                  <a:pos x="430" y="111"/>
                </a:cxn>
                <a:cxn ang="0">
                  <a:pos x="274" y="78"/>
                </a:cxn>
                <a:cxn ang="0">
                  <a:pos x="169" y="103"/>
                </a:cxn>
                <a:cxn ang="0">
                  <a:pos x="126" y="186"/>
                </a:cxn>
                <a:cxn ang="0">
                  <a:pos x="156" y="264"/>
                </a:cxn>
                <a:cxn ang="0">
                  <a:pos x="286" y="345"/>
                </a:cxn>
                <a:cxn ang="0">
                  <a:pos x="391" y="406"/>
                </a:cxn>
                <a:cxn ang="0">
                  <a:pos x="464" y="486"/>
                </a:cxn>
                <a:cxn ang="0">
                  <a:pos x="484" y="581"/>
                </a:cxn>
                <a:cxn ang="0">
                  <a:pos x="193" y="795"/>
                </a:cxn>
                <a:cxn ang="0">
                  <a:pos x="0" y="764"/>
                </a:cxn>
              </a:cxnLst>
              <a:rect l="0" t="0" r="r" b="b"/>
              <a:pathLst>
                <a:path w="484" h="795">
                  <a:moveTo>
                    <a:pt x="0" y="764"/>
                  </a:moveTo>
                  <a:cubicBezTo>
                    <a:pt x="0" y="672"/>
                    <a:pt x="0" y="672"/>
                    <a:pt x="0" y="672"/>
                  </a:cubicBezTo>
                  <a:cubicBezTo>
                    <a:pt x="50" y="700"/>
                    <a:pt x="113" y="715"/>
                    <a:pt x="186" y="715"/>
                  </a:cubicBezTo>
                  <a:cubicBezTo>
                    <a:pt x="309" y="715"/>
                    <a:pt x="371" y="674"/>
                    <a:pt x="371" y="593"/>
                  </a:cubicBezTo>
                  <a:cubicBezTo>
                    <a:pt x="371" y="562"/>
                    <a:pt x="361" y="536"/>
                    <a:pt x="339" y="515"/>
                  </a:cubicBezTo>
                  <a:cubicBezTo>
                    <a:pt x="323" y="498"/>
                    <a:pt x="305" y="484"/>
                    <a:pt x="284" y="472"/>
                  </a:cubicBezTo>
                  <a:cubicBezTo>
                    <a:pt x="265" y="462"/>
                    <a:pt x="241" y="450"/>
                    <a:pt x="212" y="436"/>
                  </a:cubicBezTo>
                  <a:cubicBezTo>
                    <a:pt x="142" y="402"/>
                    <a:pt x="93" y="369"/>
                    <a:pt x="65" y="337"/>
                  </a:cubicBezTo>
                  <a:cubicBezTo>
                    <a:pt x="30" y="299"/>
                    <a:pt x="13" y="253"/>
                    <a:pt x="13" y="199"/>
                  </a:cubicBezTo>
                  <a:cubicBezTo>
                    <a:pt x="13" y="129"/>
                    <a:pt x="40" y="77"/>
                    <a:pt x="94" y="43"/>
                  </a:cubicBezTo>
                  <a:cubicBezTo>
                    <a:pt x="140" y="14"/>
                    <a:pt x="198" y="0"/>
                    <a:pt x="269" y="0"/>
                  </a:cubicBezTo>
                  <a:cubicBezTo>
                    <a:pt x="318" y="0"/>
                    <a:pt x="372" y="8"/>
                    <a:pt x="430" y="26"/>
                  </a:cubicBezTo>
                  <a:cubicBezTo>
                    <a:pt x="430" y="111"/>
                    <a:pt x="430" y="111"/>
                    <a:pt x="430" y="111"/>
                  </a:cubicBezTo>
                  <a:cubicBezTo>
                    <a:pt x="381" y="89"/>
                    <a:pt x="329" y="78"/>
                    <a:pt x="274" y="78"/>
                  </a:cubicBezTo>
                  <a:cubicBezTo>
                    <a:pt x="232" y="78"/>
                    <a:pt x="197" y="86"/>
                    <a:pt x="169" y="103"/>
                  </a:cubicBezTo>
                  <a:cubicBezTo>
                    <a:pt x="141" y="120"/>
                    <a:pt x="126" y="148"/>
                    <a:pt x="126" y="186"/>
                  </a:cubicBezTo>
                  <a:cubicBezTo>
                    <a:pt x="126" y="218"/>
                    <a:pt x="136" y="244"/>
                    <a:pt x="156" y="264"/>
                  </a:cubicBezTo>
                  <a:cubicBezTo>
                    <a:pt x="176" y="285"/>
                    <a:pt x="219" y="312"/>
                    <a:pt x="286" y="345"/>
                  </a:cubicBezTo>
                  <a:cubicBezTo>
                    <a:pt x="338" y="372"/>
                    <a:pt x="374" y="392"/>
                    <a:pt x="391" y="406"/>
                  </a:cubicBezTo>
                  <a:cubicBezTo>
                    <a:pt x="426" y="430"/>
                    <a:pt x="450" y="457"/>
                    <a:pt x="464" y="486"/>
                  </a:cubicBezTo>
                  <a:cubicBezTo>
                    <a:pt x="478" y="512"/>
                    <a:pt x="484" y="544"/>
                    <a:pt x="484" y="581"/>
                  </a:cubicBezTo>
                  <a:cubicBezTo>
                    <a:pt x="484" y="724"/>
                    <a:pt x="387" y="795"/>
                    <a:pt x="193" y="795"/>
                  </a:cubicBezTo>
                  <a:cubicBezTo>
                    <a:pt x="114" y="795"/>
                    <a:pt x="50" y="785"/>
                    <a:pt x="0" y="764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2141538" y="4010025"/>
              <a:ext cx="182563" cy="360363"/>
            </a:xfrm>
            <a:custGeom>
              <a:avLst/>
              <a:gdLst/>
              <a:ahLst/>
              <a:cxnLst>
                <a:cxn ang="0">
                  <a:pos x="0" y="1136"/>
                </a:cxn>
                <a:cxn ang="0">
                  <a:pos x="0" y="0"/>
                </a:cxn>
                <a:cxn ang="0">
                  <a:pos x="129" y="0"/>
                </a:cxn>
                <a:cxn ang="0">
                  <a:pos x="129" y="400"/>
                </a:cxn>
                <a:cxn ang="0">
                  <a:pos x="319" y="361"/>
                </a:cxn>
                <a:cxn ang="0">
                  <a:pos x="549" y="479"/>
                </a:cxn>
                <a:cxn ang="0">
                  <a:pos x="572" y="673"/>
                </a:cxn>
                <a:cxn ang="0">
                  <a:pos x="572" y="1136"/>
                </a:cxn>
                <a:cxn ang="0">
                  <a:pos x="443" y="1136"/>
                </a:cxn>
                <a:cxn ang="0">
                  <a:pos x="443" y="653"/>
                </a:cxn>
                <a:cxn ang="0">
                  <a:pos x="420" y="499"/>
                </a:cxn>
                <a:cxn ang="0">
                  <a:pos x="307" y="439"/>
                </a:cxn>
                <a:cxn ang="0">
                  <a:pos x="129" y="485"/>
                </a:cxn>
                <a:cxn ang="0">
                  <a:pos x="129" y="1136"/>
                </a:cxn>
                <a:cxn ang="0">
                  <a:pos x="0" y="1136"/>
                </a:cxn>
              </a:cxnLst>
              <a:rect l="0" t="0" r="r" b="b"/>
              <a:pathLst>
                <a:path w="572" h="1136">
                  <a:moveTo>
                    <a:pt x="0" y="113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00"/>
                    <a:pt x="129" y="400"/>
                    <a:pt x="129" y="400"/>
                  </a:cubicBezTo>
                  <a:cubicBezTo>
                    <a:pt x="196" y="374"/>
                    <a:pt x="260" y="361"/>
                    <a:pt x="319" y="361"/>
                  </a:cubicBezTo>
                  <a:cubicBezTo>
                    <a:pt x="438" y="361"/>
                    <a:pt x="515" y="400"/>
                    <a:pt x="549" y="479"/>
                  </a:cubicBezTo>
                  <a:cubicBezTo>
                    <a:pt x="564" y="515"/>
                    <a:pt x="572" y="579"/>
                    <a:pt x="572" y="673"/>
                  </a:cubicBezTo>
                  <a:cubicBezTo>
                    <a:pt x="572" y="1136"/>
                    <a:pt x="572" y="1136"/>
                    <a:pt x="572" y="1136"/>
                  </a:cubicBezTo>
                  <a:cubicBezTo>
                    <a:pt x="443" y="1136"/>
                    <a:pt x="443" y="1136"/>
                    <a:pt x="443" y="1136"/>
                  </a:cubicBezTo>
                  <a:cubicBezTo>
                    <a:pt x="443" y="653"/>
                    <a:pt x="443" y="653"/>
                    <a:pt x="443" y="653"/>
                  </a:cubicBezTo>
                  <a:cubicBezTo>
                    <a:pt x="443" y="581"/>
                    <a:pt x="436" y="529"/>
                    <a:pt x="420" y="499"/>
                  </a:cubicBezTo>
                  <a:cubicBezTo>
                    <a:pt x="400" y="459"/>
                    <a:pt x="362" y="439"/>
                    <a:pt x="307" y="439"/>
                  </a:cubicBezTo>
                  <a:cubicBezTo>
                    <a:pt x="256" y="439"/>
                    <a:pt x="196" y="454"/>
                    <a:pt x="129" y="485"/>
                  </a:cubicBezTo>
                  <a:cubicBezTo>
                    <a:pt x="129" y="1136"/>
                    <a:pt x="129" y="1136"/>
                    <a:pt x="129" y="1136"/>
                  </a:cubicBezTo>
                  <a:lnTo>
                    <a:pt x="0" y="113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gray">
            <a:xfrm>
              <a:off x="2379663" y="4124325"/>
              <a:ext cx="185738" cy="252413"/>
            </a:xfrm>
            <a:custGeom>
              <a:avLst/>
              <a:gdLst/>
              <a:ahLst/>
              <a:cxnLst>
                <a:cxn ang="0">
                  <a:pos x="456" y="298"/>
                </a:cxn>
                <a:cxn ang="0">
                  <a:pos x="456" y="259"/>
                </a:cxn>
                <a:cxn ang="0">
                  <a:pos x="432" y="144"/>
                </a:cxn>
                <a:cxn ang="0">
                  <a:pos x="283" y="81"/>
                </a:cxn>
                <a:cxn ang="0">
                  <a:pos x="73" y="123"/>
                </a:cxn>
                <a:cxn ang="0">
                  <a:pos x="73" y="33"/>
                </a:cxn>
                <a:cxn ang="0">
                  <a:pos x="296" y="0"/>
                </a:cxn>
                <a:cxn ang="0">
                  <a:pos x="539" y="80"/>
                </a:cxn>
                <a:cxn ang="0">
                  <a:pos x="582" y="209"/>
                </a:cxn>
                <a:cxn ang="0">
                  <a:pos x="585" y="303"/>
                </a:cxn>
                <a:cxn ang="0">
                  <a:pos x="585" y="760"/>
                </a:cxn>
                <a:cxn ang="0">
                  <a:pos x="305" y="795"/>
                </a:cxn>
                <a:cxn ang="0">
                  <a:pos x="86" y="752"/>
                </a:cxn>
                <a:cxn ang="0">
                  <a:pos x="0" y="583"/>
                </a:cxn>
                <a:cxn ang="0">
                  <a:pos x="99" y="380"/>
                </a:cxn>
                <a:cxn ang="0">
                  <a:pos x="350" y="310"/>
                </a:cxn>
                <a:cxn ang="0">
                  <a:pos x="456" y="298"/>
                </a:cxn>
                <a:cxn ang="0">
                  <a:pos x="456" y="372"/>
                </a:cxn>
                <a:cxn ang="0">
                  <a:pos x="278" y="399"/>
                </a:cxn>
                <a:cxn ang="0">
                  <a:pos x="132" y="570"/>
                </a:cxn>
                <a:cxn ang="0">
                  <a:pos x="175" y="679"/>
                </a:cxn>
                <a:cxn ang="0">
                  <a:pos x="325" y="718"/>
                </a:cxn>
                <a:cxn ang="0">
                  <a:pos x="456" y="700"/>
                </a:cxn>
                <a:cxn ang="0">
                  <a:pos x="456" y="372"/>
                </a:cxn>
              </a:cxnLst>
              <a:rect l="0" t="0" r="r" b="b"/>
              <a:pathLst>
                <a:path w="585" h="795">
                  <a:moveTo>
                    <a:pt x="456" y="298"/>
                  </a:moveTo>
                  <a:cubicBezTo>
                    <a:pt x="456" y="259"/>
                    <a:pt x="456" y="259"/>
                    <a:pt x="456" y="259"/>
                  </a:cubicBezTo>
                  <a:cubicBezTo>
                    <a:pt x="456" y="209"/>
                    <a:pt x="448" y="171"/>
                    <a:pt x="432" y="144"/>
                  </a:cubicBezTo>
                  <a:cubicBezTo>
                    <a:pt x="409" y="102"/>
                    <a:pt x="359" y="81"/>
                    <a:pt x="283" y="81"/>
                  </a:cubicBezTo>
                  <a:cubicBezTo>
                    <a:pt x="214" y="81"/>
                    <a:pt x="144" y="95"/>
                    <a:pt x="73" y="12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145" y="11"/>
                    <a:pt x="219" y="0"/>
                    <a:pt x="296" y="0"/>
                  </a:cubicBezTo>
                  <a:cubicBezTo>
                    <a:pt x="414" y="0"/>
                    <a:pt x="495" y="27"/>
                    <a:pt x="539" y="80"/>
                  </a:cubicBezTo>
                  <a:cubicBezTo>
                    <a:pt x="562" y="109"/>
                    <a:pt x="577" y="152"/>
                    <a:pt x="582" y="209"/>
                  </a:cubicBezTo>
                  <a:cubicBezTo>
                    <a:pt x="584" y="230"/>
                    <a:pt x="585" y="261"/>
                    <a:pt x="585" y="303"/>
                  </a:cubicBezTo>
                  <a:cubicBezTo>
                    <a:pt x="585" y="760"/>
                    <a:pt x="585" y="760"/>
                    <a:pt x="585" y="760"/>
                  </a:cubicBezTo>
                  <a:cubicBezTo>
                    <a:pt x="497" y="783"/>
                    <a:pt x="404" y="795"/>
                    <a:pt x="305" y="795"/>
                  </a:cubicBezTo>
                  <a:cubicBezTo>
                    <a:pt x="211" y="795"/>
                    <a:pt x="138" y="781"/>
                    <a:pt x="86" y="752"/>
                  </a:cubicBezTo>
                  <a:cubicBezTo>
                    <a:pt x="29" y="719"/>
                    <a:pt x="0" y="663"/>
                    <a:pt x="0" y="583"/>
                  </a:cubicBezTo>
                  <a:cubicBezTo>
                    <a:pt x="0" y="491"/>
                    <a:pt x="33" y="423"/>
                    <a:pt x="99" y="380"/>
                  </a:cubicBezTo>
                  <a:cubicBezTo>
                    <a:pt x="149" y="347"/>
                    <a:pt x="233" y="324"/>
                    <a:pt x="350" y="310"/>
                  </a:cubicBezTo>
                  <a:cubicBezTo>
                    <a:pt x="372" y="307"/>
                    <a:pt x="407" y="303"/>
                    <a:pt x="456" y="298"/>
                  </a:cubicBezTo>
                  <a:moveTo>
                    <a:pt x="456" y="372"/>
                  </a:moveTo>
                  <a:cubicBezTo>
                    <a:pt x="378" y="379"/>
                    <a:pt x="318" y="389"/>
                    <a:pt x="278" y="399"/>
                  </a:cubicBezTo>
                  <a:cubicBezTo>
                    <a:pt x="180" y="423"/>
                    <a:pt x="132" y="480"/>
                    <a:pt x="132" y="570"/>
                  </a:cubicBezTo>
                  <a:cubicBezTo>
                    <a:pt x="132" y="619"/>
                    <a:pt x="146" y="655"/>
                    <a:pt x="175" y="679"/>
                  </a:cubicBezTo>
                  <a:cubicBezTo>
                    <a:pt x="206" y="705"/>
                    <a:pt x="256" y="718"/>
                    <a:pt x="325" y="718"/>
                  </a:cubicBezTo>
                  <a:cubicBezTo>
                    <a:pt x="372" y="718"/>
                    <a:pt x="415" y="711"/>
                    <a:pt x="456" y="700"/>
                  </a:cubicBezTo>
                  <a:lnTo>
                    <a:pt x="456" y="37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gray">
            <a:xfrm>
              <a:off x="2638425" y="4124325"/>
              <a:ext cx="188913" cy="360363"/>
            </a:xfrm>
            <a:custGeom>
              <a:avLst/>
              <a:gdLst/>
              <a:ahLst/>
              <a:cxnLst>
                <a:cxn ang="0">
                  <a:pos x="129" y="742"/>
                </a:cxn>
                <a:cxn ang="0">
                  <a:pos x="129" y="1136"/>
                </a:cxn>
                <a:cxn ang="0">
                  <a:pos x="0" y="1136"/>
                </a:cxn>
                <a:cxn ang="0">
                  <a:pos x="0" y="30"/>
                </a:cxn>
                <a:cxn ang="0">
                  <a:pos x="260" y="0"/>
                </a:cxn>
                <a:cxn ang="0">
                  <a:pos x="528" y="118"/>
                </a:cxn>
                <a:cxn ang="0">
                  <a:pos x="592" y="396"/>
                </a:cxn>
                <a:cxn ang="0">
                  <a:pos x="511" y="691"/>
                </a:cxn>
                <a:cxn ang="0">
                  <a:pos x="287" y="795"/>
                </a:cxn>
                <a:cxn ang="0">
                  <a:pos x="180" y="775"/>
                </a:cxn>
                <a:cxn ang="0">
                  <a:pos x="129" y="742"/>
                </a:cxn>
                <a:cxn ang="0">
                  <a:pos x="129" y="653"/>
                </a:cxn>
                <a:cxn ang="0">
                  <a:pos x="272" y="718"/>
                </a:cxn>
                <a:cxn ang="0">
                  <a:pos x="418" y="618"/>
                </a:cxn>
                <a:cxn ang="0">
                  <a:pos x="461" y="395"/>
                </a:cxn>
                <a:cxn ang="0">
                  <a:pos x="403" y="147"/>
                </a:cxn>
                <a:cxn ang="0">
                  <a:pos x="241" y="78"/>
                </a:cxn>
                <a:cxn ang="0">
                  <a:pos x="129" y="87"/>
                </a:cxn>
                <a:cxn ang="0">
                  <a:pos x="129" y="653"/>
                </a:cxn>
              </a:cxnLst>
              <a:rect l="0" t="0" r="r" b="b"/>
              <a:pathLst>
                <a:path w="592" h="1136">
                  <a:moveTo>
                    <a:pt x="129" y="742"/>
                  </a:moveTo>
                  <a:cubicBezTo>
                    <a:pt x="129" y="1136"/>
                    <a:pt x="129" y="1136"/>
                    <a:pt x="129" y="1136"/>
                  </a:cubicBezTo>
                  <a:cubicBezTo>
                    <a:pt x="0" y="1136"/>
                    <a:pt x="0" y="1136"/>
                    <a:pt x="0" y="113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89" y="10"/>
                    <a:pt x="175" y="0"/>
                    <a:pt x="260" y="0"/>
                  </a:cubicBezTo>
                  <a:cubicBezTo>
                    <a:pt x="391" y="0"/>
                    <a:pt x="480" y="39"/>
                    <a:pt x="528" y="118"/>
                  </a:cubicBezTo>
                  <a:cubicBezTo>
                    <a:pt x="571" y="188"/>
                    <a:pt x="592" y="281"/>
                    <a:pt x="592" y="396"/>
                  </a:cubicBezTo>
                  <a:cubicBezTo>
                    <a:pt x="592" y="518"/>
                    <a:pt x="565" y="616"/>
                    <a:pt x="511" y="691"/>
                  </a:cubicBezTo>
                  <a:cubicBezTo>
                    <a:pt x="460" y="761"/>
                    <a:pt x="385" y="795"/>
                    <a:pt x="287" y="795"/>
                  </a:cubicBezTo>
                  <a:cubicBezTo>
                    <a:pt x="245" y="795"/>
                    <a:pt x="209" y="789"/>
                    <a:pt x="180" y="775"/>
                  </a:cubicBezTo>
                  <a:cubicBezTo>
                    <a:pt x="166" y="769"/>
                    <a:pt x="149" y="758"/>
                    <a:pt x="129" y="742"/>
                  </a:cubicBezTo>
                  <a:moveTo>
                    <a:pt x="129" y="653"/>
                  </a:moveTo>
                  <a:cubicBezTo>
                    <a:pt x="172" y="696"/>
                    <a:pt x="220" y="718"/>
                    <a:pt x="272" y="718"/>
                  </a:cubicBezTo>
                  <a:cubicBezTo>
                    <a:pt x="338" y="718"/>
                    <a:pt x="387" y="684"/>
                    <a:pt x="418" y="618"/>
                  </a:cubicBezTo>
                  <a:cubicBezTo>
                    <a:pt x="447" y="557"/>
                    <a:pt x="461" y="483"/>
                    <a:pt x="461" y="395"/>
                  </a:cubicBezTo>
                  <a:cubicBezTo>
                    <a:pt x="461" y="284"/>
                    <a:pt x="442" y="202"/>
                    <a:pt x="403" y="147"/>
                  </a:cubicBezTo>
                  <a:cubicBezTo>
                    <a:pt x="372" y="101"/>
                    <a:pt x="318" y="78"/>
                    <a:pt x="241" y="78"/>
                  </a:cubicBezTo>
                  <a:cubicBezTo>
                    <a:pt x="207" y="78"/>
                    <a:pt x="170" y="81"/>
                    <a:pt x="129" y="87"/>
                  </a:cubicBezTo>
                  <a:lnTo>
                    <a:pt x="129" y="6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gray">
            <a:xfrm>
              <a:off x="2882900" y="4043363"/>
              <a:ext cx="50800" cy="327025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137" y="26"/>
                </a:cxn>
                <a:cxn ang="0">
                  <a:pos x="157" y="79"/>
                </a:cxn>
                <a:cxn ang="0">
                  <a:pos x="131" y="139"/>
                </a:cxn>
                <a:cxn ang="0">
                  <a:pos x="78" y="159"/>
                </a:cxn>
                <a:cxn ang="0">
                  <a:pos x="20" y="133"/>
                </a:cxn>
                <a:cxn ang="0">
                  <a:pos x="0" y="78"/>
                </a:cxn>
                <a:cxn ang="0">
                  <a:pos x="25" y="20"/>
                </a:cxn>
                <a:cxn ang="0">
                  <a:pos x="78" y="0"/>
                </a:cxn>
                <a:cxn ang="0">
                  <a:pos x="15" y="277"/>
                </a:cxn>
                <a:cxn ang="0">
                  <a:pos x="144" y="277"/>
                </a:cxn>
                <a:cxn ang="0">
                  <a:pos x="144" y="1031"/>
                </a:cxn>
                <a:cxn ang="0">
                  <a:pos x="15" y="1031"/>
                </a:cxn>
                <a:cxn ang="0">
                  <a:pos x="15" y="277"/>
                </a:cxn>
              </a:cxnLst>
              <a:rect l="0" t="0" r="r" b="b"/>
              <a:pathLst>
                <a:path w="157" h="1031">
                  <a:moveTo>
                    <a:pt x="78" y="0"/>
                  </a:moveTo>
                  <a:cubicBezTo>
                    <a:pt x="102" y="0"/>
                    <a:pt x="121" y="9"/>
                    <a:pt x="137" y="26"/>
                  </a:cubicBezTo>
                  <a:cubicBezTo>
                    <a:pt x="150" y="42"/>
                    <a:pt x="157" y="59"/>
                    <a:pt x="157" y="79"/>
                  </a:cubicBezTo>
                  <a:cubicBezTo>
                    <a:pt x="157" y="103"/>
                    <a:pt x="148" y="123"/>
                    <a:pt x="131" y="139"/>
                  </a:cubicBezTo>
                  <a:cubicBezTo>
                    <a:pt x="116" y="152"/>
                    <a:pt x="99" y="159"/>
                    <a:pt x="78" y="159"/>
                  </a:cubicBezTo>
                  <a:cubicBezTo>
                    <a:pt x="54" y="159"/>
                    <a:pt x="35" y="150"/>
                    <a:pt x="20" y="133"/>
                  </a:cubicBezTo>
                  <a:cubicBezTo>
                    <a:pt x="6" y="118"/>
                    <a:pt x="0" y="99"/>
                    <a:pt x="0" y="78"/>
                  </a:cubicBezTo>
                  <a:cubicBezTo>
                    <a:pt x="0" y="56"/>
                    <a:pt x="8" y="37"/>
                    <a:pt x="25" y="20"/>
                  </a:cubicBezTo>
                  <a:cubicBezTo>
                    <a:pt x="40" y="7"/>
                    <a:pt x="58" y="0"/>
                    <a:pt x="78" y="0"/>
                  </a:cubicBezTo>
                  <a:moveTo>
                    <a:pt x="15" y="277"/>
                  </a:moveTo>
                  <a:cubicBezTo>
                    <a:pt x="144" y="277"/>
                    <a:pt x="144" y="277"/>
                    <a:pt x="144" y="277"/>
                  </a:cubicBezTo>
                  <a:cubicBezTo>
                    <a:pt x="144" y="1031"/>
                    <a:pt x="144" y="1031"/>
                    <a:pt x="144" y="1031"/>
                  </a:cubicBezTo>
                  <a:cubicBezTo>
                    <a:pt x="15" y="1031"/>
                    <a:pt x="15" y="1031"/>
                    <a:pt x="15" y="1031"/>
                  </a:cubicBezTo>
                  <a:lnTo>
                    <a:pt x="15" y="27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3006725" y="4124325"/>
              <a:ext cx="180975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0"/>
                </a:cxn>
                <a:cxn ang="0">
                  <a:pos x="302" y="0"/>
                </a:cxn>
                <a:cxn ang="0">
                  <a:pos x="550" y="119"/>
                </a:cxn>
                <a:cxn ang="0">
                  <a:pos x="573" y="312"/>
                </a:cxn>
                <a:cxn ang="0">
                  <a:pos x="573" y="775"/>
                </a:cxn>
                <a:cxn ang="0">
                  <a:pos x="444" y="775"/>
                </a:cxn>
                <a:cxn ang="0">
                  <a:pos x="444" y="320"/>
                </a:cxn>
                <a:cxn ang="0">
                  <a:pos x="421" y="140"/>
                </a:cxn>
                <a:cxn ang="0">
                  <a:pos x="290" y="78"/>
                </a:cxn>
                <a:cxn ang="0">
                  <a:pos x="130" y="94"/>
                </a:cxn>
                <a:cxn ang="0">
                  <a:pos x="130" y="775"/>
                </a:cxn>
                <a:cxn ang="0">
                  <a:pos x="0" y="775"/>
                </a:cxn>
              </a:cxnLst>
              <a:rect l="0" t="0" r="r" b="b"/>
              <a:pathLst>
                <a:path w="573" h="775">
                  <a:moveTo>
                    <a:pt x="0" y="775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20" y="10"/>
                    <a:pt x="220" y="0"/>
                    <a:pt x="302" y="0"/>
                  </a:cubicBezTo>
                  <a:cubicBezTo>
                    <a:pt x="434" y="0"/>
                    <a:pt x="516" y="39"/>
                    <a:pt x="550" y="119"/>
                  </a:cubicBezTo>
                  <a:cubicBezTo>
                    <a:pt x="565" y="155"/>
                    <a:pt x="573" y="220"/>
                    <a:pt x="573" y="312"/>
                  </a:cubicBezTo>
                  <a:cubicBezTo>
                    <a:pt x="573" y="775"/>
                    <a:pt x="573" y="775"/>
                    <a:pt x="573" y="775"/>
                  </a:cubicBezTo>
                  <a:cubicBezTo>
                    <a:pt x="444" y="775"/>
                    <a:pt x="444" y="775"/>
                    <a:pt x="444" y="775"/>
                  </a:cubicBezTo>
                  <a:cubicBezTo>
                    <a:pt x="444" y="320"/>
                    <a:pt x="444" y="320"/>
                    <a:pt x="444" y="320"/>
                  </a:cubicBezTo>
                  <a:cubicBezTo>
                    <a:pt x="444" y="230"/>
                    <a:pt x="436" y="171"/>
                    <a:pt x="421" y="140"/>
                  </a:cubicBezTo>
                  <a:cubicBezTo>
                    <a:pt x="400" y="99"/>
                    <a:pt x="356" y="78"/>
                    <a:pt x="290" y="78"/>
                  </a:cubicBezTo>
                  <a:cubicBezTo>
                    <a:pt x="237" y="78"/>
                    <a:pt x="184" y="83"/>
                    <a:pt x="130" y="94"/>
                  </a:cubicBezTo>
                  <a:cubicBezTo>
                    <a:pt x="130" y="775"/>
                    <a:pt x="130" y="775"/>
                    <a:pt x="130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gray">
            <a:xfrm>
              <a:off x="3244850" y="4124325"/>
              <a:ext cx="188913" cy="363538"/>
            </a:xfrm>
            <a:custGeom>
              <a:avLst/>
              <a:gdLst/>
              <a:ahLst/>
              <a:cxnLst>
                <a:cxn ang="0">
                  <a:pos x="466" y="707"/>
                </a:cxn>
                <a:cxn ang="0">
                  <a:pos x="418" y="752"/>
                </a:cxn>
                <a:cxn ang="0">
                  <a:pos x="268" y="795"/>
                </a:cxn>
                <a:cxn ang="0">
                  <a:pos x="102" y="740"/>
                </a:cxn>
                <a:cxn ang="0">
                  <a:pos x="0" y="433"/>
                </a:cxn>
                <a:cxn ang="0">
                  <a:pos x="75" y="137"/>
                </a:cxn>
                <a:cxn ang="0">
                  <a:pos x="356" y="0"/>
                </a:cxn>
                <a:cxn ang="0">
                  <a:pos x="595" y="30"/>
                </a:cxn>
                <a:cxn ang="0">
                  <a:pos x="595" y="628"/>
                </a:cxn>
                <a:cxn ang="0">
                  <a:pos x="580" y="881"/>
                </a:cxn>
                <a:cxn ang="0">
                  <a:pos x="441" y="1099"/>
                </a:cxn>
                <a:cxn ang="0">
                  <a:pos x="200" y="1147"/>
                </a:cxn>
                <a:cxn ang="0">
                  <a:pos x="103" y="1141"/>
                </a:cxn>
                <a:cxn ang="0">
                  <a:pos x="103" y="1064"/>
                </a:cxn>
                <a:cxn ang="0">
                  <a:pos x="199" y="1069"/>
                </a:cxn>
                <a:cxn ang="0">
                  <a:pos x="357" y="1041"/>
                </a:cxn>
                <a:cxn ang="0">
                  <a:pos x="454" y="896"/>
                </a:cxn>
                <a:cxn ang="0">
                  <a:pos x="466" y="748"/>
                </a:cxn>
                <a:cxn ang="0">
                  <a:pos x="466" y="707"/>
                </a:cxn>
                <a:cxn ang="0">
                  <a:pos x="466" y="85"/>
                </a:cxn>
                <a:cxn ang="0">
                  <a:pos x="369" y="78"/>
                </a:cxn>
                <a:cxn ang="0">
                  <a:pos x="242" y="111"/>
                </a:cxn>
                <a:cxn ang="0">
                  <a:pos x="159" y="244"/>
                </a:cxn>
                <a:cxn ang="0">
                  <a:pos x="132" y="438"/>
                </a:cxn>
                <a:cxn ang="0">
                  <a:pos x="183" y="662"/>
                </a:cxn>
                <a:cxn ang="0">
                  <a:pos x="286" y="718"/>
                </a:cxn>
                <a:cxn ang="0">
                  <a:pos x="388" y="683"/>
                </a:cxn>
                <a:cxn ang="0">
                  <a:pos x="455" y="592"/>
                </a:cxn>
                <a:cxn ang="0">
                  <a:pos x="466" y="505"/>
                </a:cxn>
                <a:cxn ang="0">
                  <a:pos x="466" y="85"/>
                </a:cxn>
              </a:cxnLst>
              <a:rect l="0" t="0" r="r" b="b"/>
              <a:pathLst>
                <a:path w="595" h="1147">
                  <a:moveTo>
                    <a:pt x="466" y="707"/>
                  </a:moveTo>
                  <a:cubicBezTo>
                    <a:pt x="446" y="728"/>
                    <a:pt x="430" y="743"/>
                    <a:pt x="418" y="752"/>
                  </a:cubicBezTo>
                  <a:cubicBezTo>
                    <a:pt x="378" y="781"/>
                    <a:pt x="329" y="795"/>
                    <a:pt x="268" y="795"/>
                  </a:cubicBezTo>
                  <a:cubicBezTo>
                    <a:pt x="201" y="795"/>
                    <a:pt x="146" y="777"/>
                    <a:pt x="102" y="740"/>
                  </a:cubicBezTo>
                  <a:cubicBezTo>
                    <a:pt x="34" y="683"/>
                    <a:pt x="0" y="581"/>
                    <a:pt x="0" y="433"/>
                  </a:cubicBezTo>
                  <a:cubicBezTo>
                    <a:pt x="0" y="313"/>
                    <a:pt x="25" y="215"/>
                    <a:pt x="75" y="137"/>
                  </a:cubicBezTo>
                  <a:cubicBezTo>
                    <a:pt x="133" y="46"/>
                    <a:pt x="226" y="0"/>
                    <a:pt x="356" y="0"/>
                  </a:cubicBezTo>
                  <a:cubicBezTo>
                    <a:pt x="433" y="0"/>
                    <a:pt x="513" y="10"/>
                    <a:pt x="595" y="30"/>
                  </a:cubicBezTo>
                  <a:cubicBezTo>
                    <a:pt x="595" y="628"/>
                    <a:pt x="595" y="628"/>
                    <a:pt x="595" y="628"/>
                  </a:cubicBezTo>
                  <a:cubicBezTo>
                    <a:pt x="595" y="739"/>
                    <a:pt x="590" y="823"/>
                    <a:pt x="580" y="881"/>
                  </a:cubicBezTo>
                  <a:cubicBezTo>
                    <a:pt x="563" y="986"/>
                    <a:pt x="516" y="1059"/>
                    <a:pt x="441" y="1099"/>
                  </a:cubicBezTo>
                  <a:cubicBezTo>
                    <a:pt x="380" y="1131"/>
                    <a:pt x="299" y="1147"/>
                    <a:pt x="200" y="1147"/>
                  </a:cubicBezTo>
                  <a:cubicBezTo>
                    <a:pt x="172" y="1147"/>
                    <a:pt x="140" y="1145"/>
                    <a:pt x="103" y="1141"/>
                  </a:cubicBezTo>
                  <a:cubicBezTo>
                    <a:pt x="103" y="1064"/>
                    <a:pt x="103" y="1064"/>
                    <a:pt x="103" y="1064"/>
                  </a:cubicBezTo>
                  <a:cubicBezTo>
                    <a:pt x="136" y="1068"/>
                    <a:pt x="168" y="1069"/>
                    <a:pt x="199" y="1069"/>
                  </a:cubicBezTo>
                  <a:cubicBezTo>
                    <a:pt x="270" y="1069"/>
                    <a:pt x="322" y="1060"/>
                    <a:pt x="357" y="1041"/>
                  </a:cubicBezTo>
                  <a:cubicBezTo>
                    <a:pt x="408" y="1014"/>
                    <a:pt x="440" y="966"/>
                    <a:pt x="454" y="896"/>
                  </a:cubicBezTo>
                  <a:cubicBezTo>
                    <a:pt x="462" y="857"/>
                    <a:pt x="466" y="808"/>
                    <a:pt x="466" y="748"/>
                  </a:cubicBezTo>
                  <a:lnTo>
                    <a:pt x="466" y="707"/>
                  </a:lnTo>
                  <a:close/>
                  <a:moveTo>
                    <a:pt x="466" y="85"/>
                  </a:moveTo>
                  <a:cubicBezTo>
                    <a:pt x="430" y="80"/>
                    <a:pt x="398" y="78"/>
                    <a:pt x="369" y="78"/>
                  </a:cubicBezTo>
                  <a:cubicBezTo>
                    <a:pt x="315" y="78"/>
                    <a:pt x="272" y="89"/>
                    <a:pt x="242" y="111"/>
                  </a:cubicBezTo>
                  <a:cubicBezTo>
                    <a:pt x="207" y="136"/>
                    <a:pt x="179" y="180"/>
                    <a:pt x="159" y="244"/>
                  </a:cubicBezTo>
                  <a:cubicBezTo>
                    <a:pt x="141" y="299"/>
                    <a:pt x="132" y="364"/>
                    <a:pt x="132" y="438"/>
                  </a:cubicBezTo>
                  <a:cubicBezTo>
                    <a:pt x="132" y="540"/>
                    <a:pt x="149" y="615"/>
                    <a:pt x="183" y="662"/>
                  </a:cubicBezTo>
                  <a:cubicBezTo>
                    <a:pt x="209" y="699"/>
                    <a:pt x="243" y="718"/>
                    <a:pt x="286" y="718"/>
                  </a:cubicBezTo>
                  <a:cubicBezTo>
                    <a:pt x="323" y="718"/>
                    <a:pt x="357" y="706"/>
                    <a:pt x="388" y="683"/>
                  </a:cubicBezTo>
                  <a:cubicBezTo>
                    <a:pt x="420" y="660"/>
                    <a:pt x="442" y="629"/>
                    <a:pt x="455" y="592"/>
                  </a:cubicBezTo>
                  <a:cubicBezTo>
                    <a:pt x="462" y="572"/>
                    <a:pt x="466" y="543"/>
                    <a:pt x="466" y="505"/>
                  </a:cubicBezTo>
                  <a:lnTo>
                    <a:pt x="466" y="8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gray">
            <a:xfrm>
              <a:off x="3619500" y="4065588"/>
              <a:ext cx="106363" cy="3048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9" y="0"/>
                </a:cxn>
                <a:cxn ang="0">
                  <a:pos x="129" y="204"/>
                </a:cxn>
                <a:cxn ang="0">
                  <a:pos x="332" y="204"/>
                </a:cxn>
                <a:cxn ang="0">
                  <a:pos x="332" y="286"/>
                </a:cxn>
                <a:cxn ang="0">
                  <a:pos x="129" y="286"/>
                </a:cxn>
                <a:cxn ang="0">
                  <a:pos x="129" y="686"/>
                </a:cxn>
                <a:cxn ang="0">
                  <a:pos x="163" y="840"/>
                </a:cxn>
                <a:cxn ang="0">
                  <a:pos x="235" y="873"/>
                </a:cxn>
                <a:cxn ang="0">
                  <a:pos x="290" y="875"/>
                </a:cxn>
                <a:cxn ang="0">
                  <a:pos x="332" y="875"/>
                </a:cxn>
                <a:cxn ang="0">
                  <a:pos x="332" y="958"/>
                </a:cxn>
                <a:cxn ang="0">
                  <a:pos x="263" y="958"/>
                </a:cxn>
                <a:cxn ang="0">
                  <a:pos x="132" y="945"/>
                </a:cxn>
                <a:cxn ang="0">
                  <a:pos x="12" y="817"/>
                </a:cxn>
                <a:cxn ang="0">
                  <a:pos x="0" y="667"/>
                </a:cxn>
                <a:cxn ang="0">
                  <a:pos x="0" y="0"/>
                </a:cxn>
              </a:cxnLst>
              <a:rect l="0" t="0" r="r" b="b"/>
              <a:pathLst>
                <a:path w="332" h="958">
                  <a:moveTo>
                    <a:pt x="0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9" y="204"/>
                    <a:pt x="129" y="204"/>
                    <a:pt x="129" y="204"/>
                  </a:cubicBezTo>
                  <a:cubicBezTo>
                    <a:pt x="332" y="204"/>
                    <a:pt x="332" y="204"/>
                    <a:pt x="332" y="204"/>
                  </a:cubicBezTo>
                  <a:cubicBezTo>
                    <a:pt x="332" y="286"/>
                    <a:pt x="332" y="286"/>
                    <a:pt x="332" y="286"/>
                  </a:cubicBezTo>
                  <a:cubicBezTo>
                    <a:pt x="129" y="286"/>
                    <a:pt x="129" y="286"/>
                    <a:pt x="129" y="286"/>
                  </a:cubicBezTo>
                  <a:cubicBezTo>
                    <a:pt x="129" y="686"/>
                    <a:pt x="129" y="686"/>
                    <a:pt x="129" y="686"/>
                  </a:cubicBezTo>
                  <a:cubicBezTo>
                    <a:pt x="129" y="762"/>
                    <a:pt x="140" y="813"/>
                    <a:pt x="163" y="840"/>
                  </a:cubicBezTo>
                  <a:cubicBezTo>
                    <a:pt x="179" y="858"/>
                    <a:pt x="203" y="869"/>
                    <a:pt x="235" y="873"/>
                  </a:cubicBezTo>
                  <a:cubicBezTo>
                    <a:pt x="245" y="875"/>
                    <a:pt x="264" y="875"/>
                    <a:pt x="290" y="875"/>
                  </a:cubicBezTo>
                  <a:cubicBezTo>
                    <a:pt x="332" y="875"/>
                    <a:pt x="332" y="875"/>
                    <a:pt x="332" y="875"/>
                  </a:cubicBezTo>
                  <a:cubicBezTo>
                    <a:pt x="332" y="958"/>
                    <a:pt x="332" y="958"/>
                    <a:pt x="332" y="958"/>
                  </a:cubicBezTo>
                  <a:cubicBezTo>
                    <a:pt x="263" y="958"/>
                    <a:pt x="263" y="958"/>
                    <a:pt x="263" y="958"/>
                  </a:cubicBezTo>
                  <a:cubicBezTo>
                    <a:pt x="207" y="958"/>
                    <a:pt x="164" y="953"/>
                    <a:pt x="132" y="945"/>
                  </a:cubicBezTo>
                  <a:cubicBezTo>
                    <a:pt x="67" y="927"/>
                    <a:pt x="27" y="884"/>
                    <a:pt x="12" y="817"/>
                  </a:cubicBezTo>
                  <a:cubicBezTo>
                    <a:pt x="4" y="781"/>
                    <a:pt x="0" y="731"/>
                    <a:pt x="0" y="6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/>
          </p:nvSpPr>
          <p:spPr bwMode="gray">
            <a:xfrm>
              <a:off x="3768725" y="4124325"/>
              <a:ext cx="201613" cy="252413"/>
            </a:xfrm>
            <a:custGeom>
              <a:avLst/>
              <a:gdLst/>
              <a:ahLst/>
              <a:cxnLst>
                <a:cxn ang="0">
                  <a:pos x="318" y="0"/>
                </a:cxn>
                <a:cxn ang="0">
                  <a:pos x="559" y="107"/>
                </a:cxn>
                <a:cxn ang="0">
                  <a:pos x="634" y="398"/>
                </a:cxn>
                <a:cxn ang="0">
                  <a:pos x="559" y="688"/>
                </a:cxn>
                <a:cxn ang="0">
                  <a:pos x="318" y="795"/>
                </a:cxn>
                <a:cxn ang="0">
                  <a:pos x="0" y="393"/>
                </a:cxn>
                <a:cxn ang="0">
                  <a:pos x="76" y="107"/>
                </a:cxn>
                <a:cxn ang="0">
                  <a:pos x="318" y="0"/>
                </a:cxn>
                <a:cxn ang="0">
                  <a:pos x="318" y="78"/>
                </a:cxn>
                <a:cxn ang="0">
                  <a:pos x="166" y="176"/>
                </a:cxn>
                <a:cxn ang="0">
                  <a:pos x="132" y="394"/>
                </a:cxn>
                <a:cxn ang="0">
                  <a:pos x="166" y="619"/>
                </a:cxn>
                <a:cxn ang="0">
                  <a:pos x="318" y="718"/>
                </a:cxn>
                <a:cxn ang="0">
                  <a:pos x="468" y="619"/>
                </a:cxn>
                <a:cxn ang="0">
                  <a:pos x="503" y="398"/>
                </a:cxn>
                <a:cxn ang="0">
                  <a:pos x="468" y="176"/>
                </a:cxn>
                <a:cxn ang="0">
                  <a:pos x="318" y="78"/>
                </a:cxn>
              </a:cxnLst>
              <a:rect l="0" t="0" r="r" b="b"/>
              <a:pathLst>
                <a:path w="634" h="795">
                  <a:moveTo>
                    <a:pt x="318" y="0"/>
                  </a:moveTo>
                  <a:cubicBezTo>
                    <a:pt x="426" y="0"/>
                    <a:pt x="506" y="36"/>
                    <a:pt x="559" y="107"/>
                  </a:cubicBezTo>
                  <a:cubicBezTo>
                    <a:pt x="609" y="176"/>
                    <a:pt x="634" y="273"/>
                    <a:pt x="634" y="398"/>
                  </a:cubicBezTo>
                  <a:cubicBezTo>
                    <a:pt x="634" y="521"/>
                    <a:pt x="609" y="618"/>
                    <a:pt x="559" y="688"/>
                  </a:cubicBezTo>
                  <a:cubicBezTo>
                    <a:pt x="507" y="760"/>
                    <a:pt x="427" y="795"/>
                    <a:pt x="318" y="795"/>
                  </a:cubicBezTo>
                  <a:cubicBezTo>
                    <a:pt x="106" y="795"/>
                    <a:pt x="0" y="661"/>
                    <a:pt x="0" y="393"/>
                  </a:cubicBezTo>
                  <a:cubicBezTo>
                    <a:pt x="0" y="271"/>
                    <a:pt x="26" y="176"/>
                    <a:pt x="76" y="107"/>
                  </a:cubicBezTo>
                  <a:cubicBezTo>
                    <a:pt x="129" y="36"/>
                    <a:pt x="209" y="0"/>
                    <a:pt x="318" y="0"/>
                  </a:cubicBezTo>
                  <a:moveTo>
                    <a:pt x="318" y="78"/>
                  </a:moveTo>
                  <a:cubicBezTo>
                    <a:pt x="245" y="78"/>
                    <a:pt x="194" y="110"/>
                    <a:pt x="166" y="176"/>
                  </a:cubicBezTo>
                  <a:cubicBezTo>
                    <a:pt x="144" y="230"/>
                    <a:pt x="132" y="303"/>
                    <a:pt x="132" y="394"/>
                  </a:cubicBezTo>
                  <a:cubicBezTo>
                    <a:pt x="132" y="490"/>
                    <a:pt x="144" y="565"/>
                    <a:pt x="166" y="619"/>
                  </a:cubicBezTo>
                  <a:cubicBezTo>
                    <a:pt x="194" y="685"/>
                    <a:pt x="245" y="718"/>
                    <a:pt x="318" y="718"/>
                  </a:cubicBezTo>
                  <a:cubicBezTo>
                    <a:pt x="391" y="718"/>
                    <a:pt x="441" y="685"/>
                    <a:pt x="468" y="619"/>
                  </a:cubicBezTo>
                  <a:cubicBezTo>
                    <a:pt x="491" y="565"/>
                    <a:pt x="503" y="491"/>
                    <a:pt x="503" y="398"/>
                  </a:cubicBezTo>
                  <a:cubicBezTo>
                    <a:pt x="503" y="302"/>
                    <a:pt x="491" y="228"/>
                    <a:pt x="468" y="176"/>
                  </a:cubicBezTo>
                  <a:cubicBezTo>
                    <a:pt x="440" y="110"/>
                    <a:pt x="390" y="78"/>
                    <a:pt x="318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gray">
            <a:xfrm>
              <a:off x="4029075" y="4124325"/>
              <a:ext cx="309563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0"/>
                </a:cxn>
                <a:cxn ang="0">
                  <a:pos x="278" y="0"/>
                </a:cxn>
                <a:cxn ang="0">
                  <a:pos x="480" y="49"/>
                </a:cxn>
                <a:cxn ang="0">
                  <a:pos x="722" y="0"/>
                </a:cxn>
                <a:cxn ang="0">
                  <a:pos x="952" y="119"/>
                </a:cxn>
                <a:cxn ang="0">
                  <a:pos x="974" y="312"/>
                </a:cxn>
                <a:cxn ang="0">
                  <a:pos x="974" y="775"/>
                </a:cxn>
                <a:cxn ang="0">
                  <a:pos x="845" y="775"/>
                </a:cxn>
                <a:cxn ang="0">
                  <a:pos x="845" y="320"/>
                </a:cxn>
                <a:cxn ang="0">
                  <a:pos x="824" y="141"/>
                </a:cxn>
                <a:cxn ang="0">
                  <a:pos x="705" y="78"/>
                </a:cxn>
                <a:cxn ang="0">
                  <a:pos x="551" y="113"/>
                </a:cxn>
                <a:cxn ang="0">
                  <a:pos x="551" y="775"/>
                </a:cxn>
                <a:cxn ang="0">
                  <a:pos x="422" y="775"/>
                </a:cxn>
                <a:cxn ang="0">
                  <a:pos x="422" y="314"/>
                </a:cxn>
                <a:cxn ang="0">
                  <a:pos x="401" y="141"/>
                </a:cxn>
                <a:cxn ang="0">
                  <a:pos x="278" y="78"/>
                </a:cxn>
                <a:cxn ang="0">
                  <a:pos x="128" y="94"/>
                </a:cxn>
                <a:cxn ang="0">
                  <a:pos x="128" y="775"/>
                </a:cxn>
                <a:cxn ang="0">
                  <a:pos x="0" y="775"/>
                </a:cxn>
              </a:cxnLst>
              <a:rect l="0" t="0" r="r" b="b"/>
              <a:pathLst>
                <a:path w="974" h="775">
                  <a:moveTo>
                    <a:pt x="0" y="775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17" y="10"/>
                    <a:pt x="210" y="0"/>
                    <a:pt x="278" y="0"/>
                  </a:cubicBezTo>
                  <a:cubicBezTo>
                    <a:pt x="367" y="0"/>
                    <a:pt x="435" y="16"/>
                    <a:pt x="480" y="49"/>
                  </a:cubicBezTo>
                  <a:cubicBezTo>
                    <a:pt x="561" y="16"/>
                    <a:pt x="642" y="0"/>
                    <a:pt x="722" y="0"/>
                  </a:cubicBezTo>
                  <a:cubicBezTo>
                    <a:pt x="843" y="0"/>
                    <a:pt x="920" y="40"/>
                    <a:pt x="952" y="119"/>
                  </a:cubicBezTo>
                  <a:cubicBezTo>
                    <a:pt x="967" y="156"/>
                    <a:pt x="974" y="220"/>
                    <a:pt x="974" y="312"/>
                  </a:cubicBezTo>
                  <a:cubicBezTo>
                    <a:pt x="974" y="775"/>
                    <a:pt x="974" y="775"/>
                    <a:pt x="974" y="775"/>
                  </a:cubicBezTo>
                  <a:cubicBezTo>
                    <a:pt x="845" y="775"/>
                    <a:pt x="845" y="775"/>
                    <a:pt x="845" y="775"/>
                  </a:cubicBezTo>
                  <a:cubicBezTo>
                    <a:pt x="845" y="320"/>
                    <a:pt x="845" y="320"/>
                    <a:pt x="845" y="320"/>
                  </a:cubicBezTo>
                  <a:cubicBezTo>
                    <a:pt x="845" y="231"/>
                    <a:pt x="838" y="172"/>
                    <a:pt x="824" y="141"/>
                  </a:cubicBezTo>
                  <a:cubicBezTo>
                    <a:pt x="805" y="99"/>
                    <a:pt x="765" y="78"/>
                    <a:pt x="705" y="78"/>
                  </a:cubicBezTo>
                  <a:cubicBezTo>
                    <a:pt x="654" y="78"/>
                    <a:pt x="603" y="90"/>
                    <a:pt x="551" y="113"/>
                  </a:cubicBezTo>
                  <a:cubicBezTo>
                    <a:pt x="551" y="775"/>
                    <a:pt x="551" y="775"/>
                    <a:pt x="551" y="775"/>
                  </a:cubicBezTo>
                  <a:cubicBezTo>
                    <a:pt x="422" y="775"/>
                    <a:pt x="422" y="775"/>
                    <a:pt x="422" y="775"/>
                  </a:cubicBezTo>
                  <a:cubicBezTo>
                    <a:pt x="422" y="314"/>
                    <a:pt x="422" y="314"/>
                    <a:pt x="422" y="314"/>
                  </a:cubicBezTo>
                  <a:cubicBezTo>
                    <a:pt x="422" y="229"/>
                    <a:pt x="415" y="171"/>
                    <a:pt x="401" y="141"/>
                  </a:cubicBezTo>
                  <a:cubicBezTo>
                    <a:pt x="382" y="99"/>
                    <a:pt x="341" y="78"/>
                    <a:pt x="278" y="78"/>
                  </a:cubicBezTo>
                  <a:cubicBezTo>
                    <a:pt x="231" y="78"/>
                    <a:pt x="181" y="83"/>
                    <a:pt x="128" y="94"/>
                  </a:cubicBezTo>
                  <a:cubicBezTo>
                    <a:pt x="128" y="775"/>
                    <a:pt x="128" y="775"/>
                    <a:pt x="128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gray">
            <a:xfrm>
              <a:off x="4394200" y="4124325"/>
              <a:ext cx="201613" cy="252413"/>
            </a:xfrm>
            <a:custGeom>
              <a:avLst/>
              <a:gdLst/>
              <a:ahLst/>
              <a:cxnLst>
                <a:cxn ang="0">
                  <a:pos x="318" y="0"/>
                </a:cxn>
                <a:cxn ang="0">
                  <a:pos x="559" y="107"/>
                </a:cxn>
                <a:cxn ang="0">
                  <a:pos x="635" y="398"/>
                </a:cxn>
                <a:cxn ang="0">
                  <a:pos x="559" y="688"/>
                </a:cxn>
                <a:cxn ang="0">
                  <a:pos x="319" y="795"/>
                </a:cxn>
                <a:cxn ang="0">
                  <a:pos x="0" y="393"/>
                </a:cxn>
                <a:cxn ang="0">
                  <a:pos x="77" y="107"/>
                </a:cxn>
                <a:cxn ang="0">
                  <a:pos x="318" y="0"/>
                </a:cxn>
                <a:cxn ang="0">
                  <a:pos x="318" y="78"/>
                </a:cxn>
                <a:cxn ang="0">
                  <a:pos x="167" y="176"/>
                </a:cxn>
                <a:cxn ang="0">
                  <a:pos x="132" y="394"/>
                </a:cxn>
                <a:cxn ang="0">
                  <a:pos x="167" y="619"/>
                </a:cxn>
                <a:cxn ang="0">
                  <a:pos x="318" y="718"/>
                </a:cxn>
                <a:cxn ang="0">
                  <a:pos x="468" y="619"/>
                </a:cxn>
                <a:cxn ang="0">
                  <a:pos x="503" y="398"/>
                </a:cxn>
                <a:cxn ang="0">
                  <a:pos x="468" y="176"/>
                </a:cxn>
                <a:cxn ang="0">
                  <a:pos x="318" y="78"/>
                </a:cxn>
              </a:cxnLst>
              <a:rect l="0" t="0" r="r" b="b"/>
              <a:pathLst>
                <a:path w="635" h="795">
                  <a:moveTo>
                    <a:pt x="318" y="0"/>
                  </a:moveTo>
                  <a:cubicBezTo>
                    <a:pt x="426" y="0"/>
                    <a:pt x="506" y="36"/>
                    <a:pt x="559" y="107"/>
                  </a:cubicBezTo>
                  <a:cubicBezTo>
                    <a:pt x="609" y="176"/>
                    <a:pt x="635" y="273"/>
                    <a:pt x="635" y="398"/>
                  </a:cubicBezTo>
                  <a:cubicBezTo>
                    <a:pt x="635" y="521"/>
                    <a:pt x="609" y="618"/>
                    <a:pt x="559" y="688"/>
                  </a:cubicBezTo>
                  <a:cubicBezTo>
                    <a:pt x="507" y="760"/>
                    <a:pt x="427" y="795"/>
                    <a:pt x="319" y="795"/>
                  </a:cubicBezTo>
                  <a:cubicBezTo>
                    <a:pt x="107" y="795"/>
                    <a:pt x="0" y="661"/>
                    <a:pt x="0" y="393"/>
                  </a:cubicBezTo>
                  <a:cubicBezTo>
                    <a:pt x="0" y="271"/>
                    <a:pt x="26" y="176"/>
                    <a:pt x="77" y="107"/>
                  </a:cubicBezTo>
                  <a:cubicBezTo>
                    <a:pt x="129" y="36"/>
                    <a:pt x="209" y="0"/>
                    <a:pt x="318" y="0"/>
                  </a:cubicBezTo>
                  <a:moveTo>
                    <a:pt x="318" y="78"/>
                  </a:moveTo>
                  <a:cubicBezTo>
                    <a:pt x="245" y="78"/>
                    <a:pt x="194" y="110"/>
                    <a:pt x="167" y="176"/>
                  </a:cubicBezTo>
                  <a:cubicBezTo>
                    <a:pt x="144" y="230"/>
                    <a:pt x="132" y="303"/>
                    <a:pt x="132" y="394"/>
                  </a:cubicBezTo>
                  <a:cubicBezTo>
                    <a:pt x="132" y="490"/>
                    <a:pt x="144" y="565"/>
                    <a:pt x="167" y="619"/>
                  </a:cubicBezTo>
                  <a:cubicBezTo>
                    <a:pt x="194" y="685"/>
                    <a:pt x="245" y="718"/>
                    <a:pt x="318" y="718"/>
                  </a:cubicBezTo>
                  <a:cubicBezTo>
                    <a:pt x="391" y="718"/>
                    <a:pt x="441" y="685"/>
                    <a:pt x="468" y="619"/>
                  </a:cubicBezTo>
                  <a:cubicBezTo>
                    <a:pt x="491" y="565"/>
                    <a:pt x="503" y="491"/>
                    <a:pt x="503" y="398"/>
                  </a:cubicBezTo>
                  <a:cubicBezTo>
                    <a:pt x="503" y="302"/>
                    <a:pt x="491" y="228"/>
                    <a:pt x="468" y="176"/>
                  </a:cubicBezTo>
                  <a:cubicBezTo>
                    <a:pt x="440" y="110"/>
                    <a:pt x="390" y="78"/>
                    <a:pt x="318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gray">
            <a:xfrm>
              <a:off x="4657725" y="4124325"/>
              <a:ext cx="103188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3"/>
                </a:cxn>
                <a:cxn ang="0">
                  <a:pos x="326" y="0"/>
                </a:cxn>
                <a:cxn ang="0">
                  <a:pos x="326" y="81"/>
                </a:cxn>
                <a:cxn ang="0">
                  <a:pos x="129" y="94"/>
                </a:cxn>
                <a:cxn ang="0">
                  <a:pos x="129" y="775"/>
                </a:cxn>
                <a:cxn ang="0">
                  <a:pos x="0" y="775"/>
                </a:cxn>
              </a:cxnLst>
              <a:rect l="0" t="0" r="r" b="b"/>
              <a:pathLst>
                <a:path w="326" h="775">
                  <a:moveTo>
                    <a:pt x="0" y="775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99" y="12"/>
                    <a:pt x="207" y="1"/>
                    <a:pt x="326" y="0"/>
                  </a:cubicBezTo>
                  <a:cubicBezTo>
                    <a:pt x="326" y="81"/>
                    <a:pt x="326" y="81"/>
                    <a:pt x="326" y="81"/>
                  </a:cubicBezTo>
                  <a:cubicBezTo>
                    <a:pt x="254" y="81"/>
                    <a:pt x="188" y="86"/>
                    <a:pt x="129" y="94"/>
                  </a:cubicBezTo>
                  <a:cubicBezTo>
                    <a:pt x="129" y="775"/>
                    <a:pt x="129" y="775"/>
                    <a:pt x="129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gray">
            <a:xfrm>
              <a:off x="4806950" y="4124325"/>
              <a:ext cx="103188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3"/>
                </a:cxn>
                <a:cxn ang="0">
                  <a:pos x="326" y="0"/>
                </a:cxn>
                <a:cxn ang="0">
                  <a:pos x="326" y="81"/>
                </a:cxn>
                <a:cxn ang="0">
                  <a:pos x="129" y="94"/>
                </a:cxn>
                <a:cxn ang="0">
                  <a:pos x="129" y="775"/>
                </a:cxn>
                <a:cxn ang="0">
                  <a:pos x="0" y="775"/>
                </a:cxn>
              </a:cxnLst>
              <a:rect l="0" t="0" r="r" b="b"/>
              <a:pathLst>
                <a:path w="326" h="775">
                  <a:moveTo>
                    <a:pt x="0" y="775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99" y="12"/>
                    <a:pt x="207" y="1"/>
                    <a:pt x="326" y="0"/>
                  </a:cubicBezTo>
                  <a:cubicBezTo>
                    <a:pt x="326" y="81"/>
                    <a:pt x="326" y="81"/>
                    <a:pt x="326" y="81"/>
                  </a:cubicBezTo>
                  <a:cubicBezTo>
                    <a:pt x="253" y="81"/>
                    <a:pt x="188" y="86"/>
                    <a:pt x="129" y="94"/>
                  </a:cubicBezTo>
                  <a:cubicBezTo>
                    <a:pt x="129" y="775"/>
                    <a:pt x="129" y="775"/>
                    <a:pt x="129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/>
          </p:nvSpPr>
          <p:spPr bwMode="gray">
            <a:xfrm>
              <a:off x="4937125" y="4124325"/>
              <a:ext cx="201613" cy="252413"/>
            </a:xfrm>
            <a:custGeom>
              <a:avLst/>
              <a:gdLst/>
              <a:ahLst/>
              <a:cxnLst>
                <a:cxn ang="0">
                  <a:pos x="317" y="0"/>
                </a:cxn>
                <a:cxn ang="0">
                  <a:pos x="558" y="107"/>
                </a:cxn>
                <a:cxn ang="0">
                  <a:pos x="634" y="398"/>
                </a:cxn>
                <a:cxn ang="0">
                  <a:pos x="558" y="688"/>
                </a:cxn>
                <a:cxn ang="0">
                  <a:pos x="318" y="795"/>
                </a:cxn>
                <a:cxn ang="0">
                  <a:pos x="0" y="393"/>
                </a:cxn>
                <a:cxn ang="0">
                  <a:pos x="76" y="107"/>
                </a:cxn>
                <a:cxn ang="0">
                  <a:pos x="317" y="0"/>
                </a:cxn>
                <a:cxn ang="0">
                  <a:pos x="317" y="78"/>
                </a:cxn>
                <a:cxn ang="0">
                  <a:pos x="166" y="176"/>
                </a:cxn>
                <a:cxn ang="0">
                  <a:pos x="132" y="394"/>
                </a:cxn>
                <a:cxn ang="0">
                  <a:pos x="166" y="619"/>
                </a:cxn>
                <a:cxn ang="0">
                  <a:pos x="317" y="718"/>
                </a:cxn>
                <a:cxn ang="0">
                  <a:pos x="468" y="619"/>
                </a:cxn>
                <a:cxn ang="0">
                  <a:pos x="502" y="398"/>
                </a:cxn>
                <a:cxn ang="0">
                  <a:pos x="468" y="176"/>
                </a:cxn>
                <a:cxn ang="0">
                  <a:pos x="317" y="78"/>
                </a:cxn>
              </a:cxnLst>
              <a:rect l="0" t="0" r="r" b="b"/>
              <a:pathLst>
                <a:path w="634" h="795">
                  <a:moveTo>
                    <a:pt x="317" y="0"/>
                  </a:moveTo>
                  <a:cubicBezTo>
                    <a:pt x="425" y="0"/>
                    <a:pt x="505" y="36"/>
                    <a:pt x="558" y="107"/>
                  </a:cubicBezTo>
                  <a:cubicBezTo>
                    <a:pt x="608" y="176"/>
                    <a:pt x="634" y="273"/>
                    <a:pt x="634" y="398"/>
                  </a:cubicBezTo>
                  <a:cubicBezTo>
                    <a:pt x="634" y="521"/>
                    <a:pt x="608" y="618"/>
                    <a:pt x="558" y="688"/>
                  </a:cubicBezTo>
                  <a:cubicBezTo>
                    <a:pt x="506" y="760"/>
                    <a:pt x="426" y="795"/>
                    <a:pt x="318" y="795"/>
                  </a:cubicBezTo>
                  <a:cubicBezTo>
                    <a:pt x="106" y="795"/>
                    <a:pt x="0" y="661"/>
                    <a:pt x="0" y="393"/>
                  </a:cubicBezTo>
                  <a:cubicBezTo>
                    <a:pt x="0" y="271"/>
                    <a:pt x="25" y="176"/>
                    <a:pt x="76" y="107"/>
                  </a:cubicBezTo>
                  <a:cubicBezTo>
                    <a:pt x="128" y="36"/>
                    <a:pt x="209" y="0"/>
                    <a:pt x="317" y="0"/>
                  </a:cubicBezTo>
                  <a:moveTo>
                    <a:pt x="317" y="78"/>
                  </a:moveTo>
                  <a:cubicBezTo>
                    <a:pt x="244" y="78"/>
                    <a:pt x="194" y="110"/>
                    <a:pt x="166" y="176"/>
                  </a:cubicBezTo>
                  <a:cubicBezTo>
                    <a:pt x="143" y="230"/>
                    <a:pt x="132" y="303"/>
                    <a:pt x="132" y="394"/>
                  </a:cubicBezTo>
                  <a:cubicBezTo>
                    <a:pt x="132" y="490"/>
                    <a:pt x="143" y="565"/>
                    <a:pt x="166" y="619"/>
                  </a:cubicBezTo>
                  <a:cubicBezTo>
                    <a:pt x="194" y="685"/>
                    <a:pt x="244" y="718"/>
                    <a:pt x="317" y="718"/>
                  </a:cubicBezTo>
                  <a:cubicBezTo>
                    <a:pt x="390" y="718"/>
                    <a:pt x="440" y="685"/>
                    <a:pt x="468" y="619"/>
                  </a:cubicBezTo>
                  <a:cubicBezTo>
                    <a:pt x="490" y="565"/>
                    <a:pt x="502" y="491"/>
                    <a:pt x="502" y="398"/>
                  </a:cubicBezTo>
                  <a:cubicBezTo>
                    <a:pt x="502" y="302"/>
                    <a:pt x="490" y="228"/>
                    <a:pt x="468" y="176"/>
                  </a:cubicBezTo>
                  <a:cubicBezTo>
                    <a:pt x="439" y="110"/>
                    <a:pt x="389" y="78"/>
                    <a:pt x="317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gray">
            <a:xfrm>
              <a:off x="5164138" y="4130675"/>
              <a:ext cx="309563" cy="239713"/>
            </a:xfrm>
            <a:custGeom>
              <a:avLst/>
              <a:gdLst/>
              <a:ahLst/>
              <a:cxnLst>
                <a:cxn ang="0">
                  <a:pos x="213" y="754"/>
                </a:cxn>
                <a:cxn ang="0">
                  <a:pos x="0" y="0"/>
                </a:cxn>
                <a:cxn ang="0">
                  <a:pos x="130" y="0"/>
                </a:cxn>
                <a:cxn ang="0">
                  <a:pos x="290" y="614"/>
                </a:cxn>
                <a:cxn ang="0">
                  <a:pos x="431" y="0"/>
                </a:cxn>
                <a:cxn ang="0">
                  <a:pos x="558" y="0"/>
                </a:cxn>
                <a:cxn ang="0">
                  <a:pos x="706" y="614"/>
                </a:cxn>
                <a:cxn ang="0">
                  <a:pos x="866" y="0"/>
                </a:cxn>
                <a:cxn ang="0">
                  <a:pos x="971" y="0"/>
                </a:cxn>
                <a:cxn ang="0">
                  <a:pos x="758" y="754"/>
                </a:cxn>
                <a:cxn ang="0">
                  <a:pos x="631" y="754"/>
                </a:cxn>
                <a:cxn ang="0">
                  <a:pos x="517" y="266"/>
                </a:cxn>
                <a:cxn ang="0">
                  <a:pos x="489" y="112"/>
                </a:cxn>
                <a:cxn ang="0">
                  <a:pos x="460" y="265"/>
                </a:cxn>
                <a:cxn ang="0">
                  <a:pos x="347" y="754"/>
                </a:cxn>
                <a:cxn ang="0">
                  <a:pos x="213" y="754"/>
                </a:cxn>
              </a:cxnLst>
              <a:rect l="0" t="0" r="r" b="b"/>
              <a:pathLst>
                <a:path w="971" h="754">
                  <a:moveTo>
                    <a:pt x="213" y="75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290" y="614"/>
                    <a:pt x="290" y="614"/>
                    <a:pt x="290" y="614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558" y="0"/>
                    <a:pt x="558" y="0"/>
                    <a:pt x="558" y="0"/>
                  </a:cubicBezTo>
                  <a:cubicBezTo>
                    <a:pt x="706" y="614"/>
                    <a:pt x="706" y="614"/>
                    <a:pt x="706" y="614"/>
                  </a:cubicBezTo>
                  <a:cubicBezTo>
                    <a:pt x="866" y="0"/>
                    <a:pt x="866" y="0"/>
                    <a:pt x="866" y="0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758" y="754"/>
                    <a:pt x="758" y="754"/>
                    <a:pt x="758" y="754"/>
                  </a:cubicBezTo>
                  <a:cubicBezTo>
                    <a:pt x="631" y="754"/>
                    <a:pt x="631" y="754"/>
                    <a:pt x="631" y="754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09" y="231"/>
                    <a:pt x="500" y="180"/>
                    <a:pt x="489" y="112"/>
                  </a:cubicBezTo>
                  <a:cubicBezTo>
                    <a:pt x="481" y="166"/>
                    <a:pt x="471" y="217"/>
                    <a:pt x="460" y="265"/>
                  </a:cubicBezTo>
                  <a:cubicBezTo>
                    <a:pt x="347" y="754"/>
                    <a:pt x="347" y="754"/>
                    <a:pt x="347" y="754"/>
                  </a:cubicBezTo>
                  <a:lnTo>
                    <a:pt x="213" y="75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gray">
            <a:xfrm>
              <a:off x="5595938" y="4130675"/>
              <a:ext cx="307975" cy="239713"/>
            </a:xfrm>
            <a:custGeom>
              <a:avLst/>
              <a:gdLst/>
              <a:ahLst/>
              <a:cxnLst>
                <a:cxn ang="0">
                  <a:pos x="213" y="754"/>
                </a:cxn>
                <a:cxn ang="0">
                  <a:pos x="0" y="0"/>
                </a:cxn>
                <a:cxn ang="0">
                  <a:pos x="130" y="0"/>
                </a:cxn>
                <a:cxn ang="0">
                  <a:pos x="290" y="614"/>
                </a:cxn>
                <a:cxn ang="0">
                  <a:pos x="431" y="0"/>
                </a:cxn>
                <a:cxn ang="0">
                  <a:pos x="559" y="0"/>
                </a:cxn>
                <a:cxn ang="0">
                  <a:pos x="706" y="614"/>
                </a:cxn>
                <a:cxn ang="0">
                  <a:pos x="866" y="0"/>
                </a:cxn>
                <a:cxn ang="0">
                  <a:pos x="971" y="0"/>
                </a:cxn>
                <a:cxn ang="0">
                  <a:pos x="758" y="754"/>
                </a:cxn>
                <a:cxn ang="0">
                  <a:pos x="631" y="754"/>
                </a:cxn>
                <a:cxn ang="0">
                  <a:pos x="518" y="266"/>
                </a:cxn>
                <a:cxn ang="0">
                  <a:pos x="489" y="112"/>
                </a:cxn>
                <a:cxn ang="0">
                  <a:pos x="460" y="265"/>
                </a:cxn>
                <a:cxn ang="0">
                  <a:pos x="347" y="754"/>
                </a:cxn>
                <a:cxn ang="0">
                  <a:pos x="213" y="754"/>
                </a:cxn>
              </a:cxnLst>
              <a:rect l="0" t="0" r="r" b="b"/>
              <a:pathLst>
                <a:path w="971" h="754">
                  <a:moveTo>
                    <a:pt x="213" y="75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290" y="614"/>
                    <a:pt x="290" y="614"/>
                    <a:pt x="290" y="614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559" y="0"/>
                    <a:pt x="559" y="0"/>
                    <a:pt x="559" y="0"/>
                  </a:cubicBezTo>
                  <a:cubicBezTo>
                    <a:pt x="706" y="614"/>
                    <a:pt x="706" y="614"/>
                    <a:pt x="706" y="614"/>
                  </a:cubicBezTo>
                  <a:cubicBezTo>
                    <a:pt x="866" y="0"/>
                    <a:pt x="866" y="0"/>
                    <a:pt x="866" y="0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758" y="754"/>
                    <a:pt x="758" y="754"/>
                    <a:pt x="758" y="754"/>
                  </a:cubicBezTo>
                  <a:cubicBezTo>
                    <a:pt x="631" y="754"/>
                    <a:pt x="631" y="754"/>
                    <a:pt x="631" y="754"/>
                  </a:cubicBezTo>
                  <a:cubicBezTo>
                    <a:pt x="518" y="266"/>
                    <a:pt x="518" y="266"/>
                    <a:pt x="518" y="266"/>
                  </a:cubicBezTo>
                  <a:cubicBezTo>
                    <a:pt x="510" y="231"/>
                    <a:pt x="500" y="180"/>
                    <a:pt x="489" y="112"/>
                  </a:cubicBezTo>
                  <a:cubicBezTo>
                    <a:pt x="481" y="166"/>
                    <a:pt x="471" y="217"/>
                    <a:pt x="460" y="265"/>
                  </a:cubicBezTo>
                  <a:cubicBezTo>
                    <a:pt x="347" y="754"/>
                    <a:pt x="347" y="754"/>
                    <a:pt x="347" y="754"/>
                  </a:cubicBezTo>
                  <a:lnTo>
                    <a:pt x="213" y="75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4"/>
            <p:cNvSpPr>
              <a:spLocks noEditPoints="1"/>
            </p:cNvSpPr>
            <p:nvPr/>
          </p:nvSpPr>
          <p:spPr bwMode="gray">
            <a:xfrm>
              <a:off x="5945188" y="4043363"/>
              <a:ext cx="49213" cy="327025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137" y="26"/>
                </a:cxn>
                <a:cxn ang="0">
                  <a:pos x="157" y="79"/>
                </a:cxn>
                <a:cxn ang="0">
                  <a:pos x="132" y="139"/>
                </a:cxn>
                <a:cxn ang="0">
                  <a:pos x="78" y="159"/>
                </a:cxn>
                <a:cxn ang="0">
                  <a:pos x="20" y="133"/>
                </a:cxn>
                <a:cxn ang="0">
                  <a:pos x="0" y="78"/>
                </a:cxn>
                <a:cxn ang="0">
                  <a:pos x="26" y="20"/>
                </a:cxn>
                <a:cxn ang="0">
                  <a:pos x="79" y="0"/>
                </a:cxn>
                <a:cxn ang="0">
                  <a:pos x="16" y="277"/>
                </a:cxn>
                <a:cxn ang="0">
                  <a:pos x="144" y="277"/>
                </a:cxn>
                <a:cxn ang="0">
                  <a:pos x="144" y="1031"/>
                </a:cxn>
                <a:cxn ang="0">
                  <a:pos x="16" y="1031"/>
                </a:cxn>
                <a:cxn ang="0">
                  <a:pos x="16" y="277"/>
                </a:cxn>
              </a:cxnLst>
              <a:rect l="0" t="0" r="r" b="b"/>
              <a:pathLst>
                <a:path w="157" h="1031">
                  <a:moveTo>
                    <a:pt x="79" y="0"/>
                  </a:moveTo>
                  <a:cubicBezTo>
                    <a:pt x="102" y="0"/>
                    <a:pt x="122" y="9"/>
                    <a:pt x="137" y="26"/>
                  </a:cubicBezTo>
                  <a:cubicBezTo>
                    <a:pt x="151" y="42"/>
                    <a:pt x="157" y="59"/>
                    <a:pt x="157" y="79"/>
                  </a:cubicBezTo>
                  <a:cubicBezTo>
                    <a:pt x="157" y="103"/>
                    <a:pt x="149" y="123"/>
                    <a:pt x="132" y="139"/>
                  </a:cubicBezTo>
                  <a:cubicBezTo>
                    <a:pt x="117" y="152"/>
                    <a:pt x="99" y="159"/>
                    <a:pt x="78" y="159"/>
                  </a:cubicBezTo>
                  <a:cubicBezTo>
                    <a:pt x="55" y="159"/>
                    <a:pt x="35" y="150"/>
                    <a:pt x="20" y="133"/>
                  </a:cubicBezTo>
                  <a:cubicBezTo>
                    <a:pt x="6" y="118"/>
                    <a:pt x="0" y="99"/>
                    <a:pt x="0" y="78"/>
                  </a:cubicBezTo>
                  <a:cubicBezTo>
                    <a:pt x="0" y="56"/>
                    <a:pt x="9" y="37"/>
                    <a:pt x="26" y="20"/>
                  </a:cubicBezTo>
                  <a:cubicBezTo>
                    <a:pt x="41" y="7"/>
                    <a:pt x="58" y="0"/>
                    <a:pt x="79" y="0"/>
                  </a:cubicBezTo>
                  <a:moveTo>
                    <a:pt x="16" y="277"/>
                  </a:moveTo>
                  <a:cubicBezTo>
                    <a:pt x="144" y="277"/>
                    <a:pt x="144" y="277"/>
                    <a:pt x="144" y="277"/>
                  </a:cubicBezTo>
                  <a:cubicBezTo>
                    <a:pt x="144" y="1031"/>
                    <a:pt x="144" y="1031"/>
                    <a:pt x="144" y="1031"/>
                  </a:cubicBezTo>
                  <a:cubicBezTo>
                    <a:pt x="16" y="1031"/>
                    <a:pt x="16" y="1031"/>
                    <a:pt x="16" y="1031"/>
                  </a:cubicBezTo>
                  <a:lnTo>
                    <a:pt x="16" y="27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gray">
            <a:xfrm>
              <a:off x="6064250" y="4065588"/>
              <a:ext cx="106363" cy="3048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9" y="0"/>
                </a:cxn>
                <a:cxn ang="0">
                  <a:pos x="129" y="204"/>
                </a:cxn>
                <a:cxn ang="0">
                  <a:pos x="332" y="204"/>
                </a:cxn>
                <a:cxn ang="0">
                  <a:pos x="332" y="286"/>
                </a:cxn>
                <a:cxn ang="0">
                  <a:pos x="129" y="286"/>
                </a:cxn>
                <a:cxn ang="0">
                  <a:pos x="129" y="686"/>
                </a:cxn>
                <a:cxn ang="0">
                  <a:pos x="163" y="840"/>
                </a:cxn>
                <a:cxn ang="0">
                  <a:pos x="234" y="873"/>
                </a:cxn>
                <a:cxn ang="0">
                  <a:pos x="289" y="875"/>
                </a:cxn>
                <a:cxn ang="0">
                  <a:pos x="332" y="875"/>
                </a:cxn>
                <a:cxn ang="0">
                  <a:pos x="332" y="958"/>
                </a:cxn>
                <a:cxn ang="0">
                  <a:pos x="262" y="958"/>
                </a:cxn>
                <a:cxn ang="0">
                  <a:pos x="132" y="945"/>
                </a:cxn>
                <a:cxn ang="0">
                  <a:pos x="11" y="817"/>
                </a:cxn>
                <a:cxn ang="0">
                  <a:pos x="0" y="667"/>
                </a:cxn>
                <a:cxn ang="0">
                  <a:pos x="0" y="0"/>
                </a:cxn>
              </a:cxnLst>
              <a:rect l="0" t="0" r="r" b="b"/>
              <a:pathLst>
                <a:path w="332" h="958">
                  <a:moveTo>
                    <a:pt x="0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9" y="204"/>
                    <a:pt x="129" y="204"/>
                    <a:pt x="129" y="204"/>
                  </a:cubicBezTo>
                  <a:cubicBezTo>
                    <a:pt x="332" y="204"/>
                    <a:pt x="332" y="204"/>
                    <a:pt x="332" y="204"/>
                  </a:cubicBezTo>
                  <a:cubicBezTo>
                    <a:pt x="332" y="286"/>
                    <a:pt x="332" y="286"/>
                    <a:pt x="332" y="286"/>
                  </a:cubicBezTo>
                  <a:cubicBezTo>
                    <a:pt x="129" y="286"/>
                    <a:pt x="129" y="286"/>
                    <a:pt x="129" y="286"/>
                  </a:cubicBezTo>
                  <a:cubicBezTo>
                    <a:pt x="129" y="686"/>
                    <a:pt x="129" y="686"/>
                    <a:pt x="129" y="686"/>
                  </a:cubicBezTo>
                  <a:cubicBezTo>
                    <a:pt x="129" y="762"/>
                    <a:pt x="140" y="813"/>
                    <a:pt x="163" y="840"/>
                  </a:cubicBezTo>
                  <a:cubicBezTo>
                    <a:pt x="178" y="858"/>
                    <a:pt x="202" y="869"/>
                    <a:pt x="234" y="873"/>
                  </a:cubicBezTo>
                  <a:cubicBezTo>
                    <a:pt x="245" y="875"/>
                    <a:pt x="263" y="875"/>
                    <a:pt x="289" y="875"/>
                  </a:cubicBezTo>
                  <a:cubicBezTo>
                    <a:pt x="332" y="875"/>
                    <a:pt x="332" y="875"/>
                    <a:pt x="332" y="875"/>
                  </a:cubicBezTo>
                  <a:cubicBezTo>
                    <a:pt x="332" y="958"/>
                    <a:pt x="332" y="958"/>
                    <a:pt x="332" y="958"/>
                  </a:cubicBezTo>
                  <a:cubicBezTo>
                    <a:pt x="262" y="958"/>
                    <a:pt x="262" y="958"/>
                    <a:pt x="262" y="958"/>
                  </a:cubicBezTo>
                  <a:cubicBezTo>
                    <a:pt x="207" y="958"/>
                    <a:pt x="163" y="953"/>
                    <a:pt x="132" y="945"/>
                  </a:cubicBezTo>
                  <a:cubicBezTo>
                    <a:pt x="66" y="927"/>
                    <a:pt x="26" y="884"/>
                    <a:pt x="11" y="817"/>
                  </a:cubicBezTo>
                  <a:cubicBezTo>
                    <a:pt x="4" y="781"/>
                    <a:pt x="0" y="731"/>
                    <a:pt x="0" y="6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gray">
            <a:xfrm>
              <a:off x="6219825" y="4010025"/>
              <a:ext cx="180975" cy="360363"/>
            </a:xfrm>
            <a:custGeom>
              <a:avLst/>
              <a:gdLst/>
              <a:ahLst/>
              <a:cxnLst>
                <a:cxn ang="0">
                  <a:pos x="0" y="1136"/>
                </a:cxn>
                <a:cxn ang="0">
                  <a:pos x="0" y="0"/>
                </a:cxn>
                <a:cxn ang="0">
                  <a:pos x="129" y="0"/>
                </a:cxn>
                <a:cxn ang="0">
                  <a:pos x="129" y="400"/>
                </a:cxn>
                <a:cxn ang="0">
                  <a:pos x="319" y="361"/>
                </a:cxn>
                <a:cxn ang="0">
                  <a:pos x="549" y="479"/>
                </a:cxn>
                <a:cxn ang="0">
                  <a:pos x="572" y="673"/>
                </a:cxn>
                <a:cxn ang="0">
                  <a:pos x="572" y="1136"/>
                </a:cxn>
                <a:cxn ang="0">
                  <a:pos x="443" y="1136"/>
                </a:cxn>
                <a:cxn ang="0">
                  <a:pos x="443" y="653"/>
                </a:cxn>
                <a:cxn ang="0">
                  <a:pos x="420" y="499"/>
                </a:cxn>
                <a:cxn ang="0">
                  <a:pos x="306" y="439"/>
                </a:cxn>
                <a:cxn ang="0">
                  <a:pos x="129" y="485"/>
                </a:cxn>
                <a:cxn ang="0">
                  <a:pos x="129" y="1136"/>
                </a:cxn>
                <a:cxn ang="0">
                  <a:pos x="0" y="1136"/>
                </a:cxn>
              </a:cxnLst>
              <a:rect l="0" t="0" r="r" b="b"/>
              <a:pathLst>
                <a:path w="572" h="1136">
                  <a:moveTo>
                    <a:pt x="0" y="113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00"/>
                    <a:pt x="129" y="400"/>
                    <a:pt x="129" y="400"/>
                  </a:cubicBezTo>
                  <a:cubicBezTo>
                    <a:pt x="196" y="374"/>
                    <a:pt x="259" y="361"/>
                    <a:pt x="319" y="361"/>
                  </a:cubicBezTo>
                  <a:cubicBezTo>
                    <a:pt x="438" y="361"/>
                    <a:pt x="515" y="400"/>
                    <a:pt x="549" y="479"/>
                  </a:cubicBezTo>
                  <a:cubicBezTo>
                    <a:pt x="564" y="515"/>
                    <a:pt x="572" y="579"/>
                    <a:pt x="572" y="673"/>
                  </a:cubicBezTo>
                  <a:cubicBezTo>
                    <a:pt x="572" y="1136"/>
                    <a:pt x="572" y="1136"/>
                    <a:pt x="572" y="1136"/>
                  </a:cubicBezTo>
                  <a:cubicBezTo>
                    <a:pt x="443" y="1136"/>
                    <a:pt x="443" y="1136"/>
                    <a:pt x="443" y="1136"/>
                  </a:cubicBezTo>
                  <a:cubicBezTo>
                    <a:pt x="443" y="653"/>
                    <a:pt x="443" y="653"/>
                    <a:pt x="443" y="653"/>
                  </a:cubicBezTo>
                  <a:cubicBezTo>
                    <a:pt x="443" y="581"/>
                    <a:pt x="436" y="529"/>
                    <a:pt x="420" y="499"/>
                  </a:cubicBezTo>
                  <a:cubicBezTo>
                    <a:pt x="400" y="459"/>
                    <a:pt x="362" y="439"/>
                    <a:pt x="306" y="439"/>
                  </a:cubicBezTo>
                  <a:cubicBezTo>
                    <a:pt x="256" y="439"/>
                    <a:pt x="197" y="454"/>
                    <a:pt x="129" y="485"/>
                  </a:cubicBezTo>
                  <a:cubicBezTo>
                    <a:pt x="129" y="1136"/>
                    <a:pt x="129" y="1136"/>
                    <a:pt x="129" y="1136"/>
                  </a:cubicBezTo>
                  <a:lnTo>
                    <a:pt x="0" y="113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gray">
            <a:xfrm>
              <a:off x="6553200" y="4130675"/>
              <a:ext cx="200025" cy="354013"/>
            </a:xfrm>
            <a:custGeom>
              <a:avLst/>
              <a:gdLst/>
              <a:ahLst/>
              <a:cxnLst>
                <a:cxn ang="0">
                  <a:pos x="56" y="153"/>
                </a:cxn>
                <a:cxn ang="0">
                  <a:pos x="0" y="0"/>
                </a:cxn>
                <a:cxn ang="0">
                  <a:pos x="27" y="0"/>
                </a:cxn>
                <a:cxn ang="0">
                  <a:pos x="67" y="120"/>
                </a:cxn>
                <a:cxn ang="0">
                  <a:pos x="104" y="0"/>
                </a:cxn>
                <a:cxn ang="0">
                  <a:pos x="126" y="0"/>
                </a:cxn>
                <a:cxn ang="0">
                  <a:pos x="51" y="223"/>
                </a:cxn>
                <a:cxn ang="0">
                  <a:pos x="29" y="223"/>
                </a:cxn>
                <a:cxn ang="0">
                  <a:pos x="56" y="153"/>
                </a:cxn>
              </a:cxnLst>
              <a:rect l="0" t="0" r="r" b="b"/>
              <a:pathLst>
                <a:path w="126" h="223">
                  <a:moveTo>
                    <a:pt x="56" y="153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67" y="120"/>
                  </a:lnTo>
                  <a:lnTo>
                    <a:pt x="104" y="0"/>
                  </a:lnTo>
                  <a:lnTo>
                    <a:pt x="126" y="0"/>
                  </a:lnTo>
                  <a:lnTo>
                    <a:pt x="51" y="223"/>
                  </a:lnTo>
                  <a:lnTo>
                    <a:pt x="29" y="223"/>
                  </a:lnTo>
                  <a:lnTo>
                    <a:pt x="56" y="1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28"/>
            <p:cNvSpPr>
              <a:spLocks noEditPoints="1"/>
            </p:cNvSpPr>
            <p:nvPr/>
          </p:nvSpPr>
          <p:spPr bwMode="gray">
            <a:xfrm>
              <a:off x="6778625" y="4124325"/>
              <a:ext cx="201613" cy="252413"/>
            </a:xfrm>
            <a:custGeom>
              <a:avLst/>
              <a:gdLst/>
              <a:ahLst/>
              <a:cxnLst>
                <a:cxn ang="0">
                  <a:pos x="318" y="0"/>
                </a:cxn>
                <a:cxn ang="0">
                  <a:pos x="559" y="107"/>
                </a:cxn>
                <a:cxn ang="0">
                  <a:pos x="634" y="398"/>
                </a:cxn>
                <a:cxn ang="0">
                  <a:pos x="559" y="688"/>
                </a:cxn>
                <a:cxn ang="0">
                  <a:pos x="318" y="795"/>
                </a:cxn>
                <a:cxn ang="0">
                  <a:pos x="0" y="393"/>
                </a:cxn>
                <a:cxn ang="0">
                  <a:pos x="76" y="107"/>
                </a:cxn>
                <a:cxn ang="0">
                  <a:pos x="318" y="0"/>
                </a:cxn>
                <a:cxn ang="0">
                  <a:pos x="318" y="78"/>
                </a:cxn>
                <a:cxn ang="0">
                  <a:pos x="167" y="176"/>
                </a:cxn>
                <a:cxn ang="0">
                  <a:pos x="132" y="394"/>
                </a:cxn>
                <a:cxn ang="0">
                  <a:pos x="167" y="619"/>
                </a:cxn>
                <a:cxn ang="0">
                  <a:pos x="318" y="718"/>
                </a:cxn>
                <a:cxn ang="0">
                  <a:pos x="468" y="619"/>
                </a:cxn>
                <a:cxn ang="0">
                  <a:pos x="503" y="398"/>
                </a:cxn>
                <a:cxn ang="0">
                  <a:pos x="468" y="176"/>
                </a:cxn>
                <a:cxn ang="0">
                  <a:pos x="318" y="78"/>
                </a:cxn>
              </a:cxnLst>
              <a:rect l="0" t="0" r="r" b="b"/>
              <a:pathLst>
                <a:path w="634" h="795">
                  <a:moveTo>
                    <a:pt x="318" y="0"/>
                  </a:moveTo>
                  <a:cubicBezTo>
                    <a:pt x="426" y="0"/>
                    <a:pt x="506" y="36"/>
                    <a:pt x="559" y="107"/>
                  </a:cubicBezTo>
                  <a:cubicBezTo>
                    <a:pt x="609" y="176"/>
                    <a:pt x="634" y="273"/>
                    <a:pt x="634" y="398"/>
                  </a:cubicBezTo>
                  <a:cubicBezTo>
                    <a:pt x="634" y="521"/>
                    <a:pt x="609" y="618"/>
                    <a:pt x="559" y="688"/>
                  </a:cubicBezTo>
                  <a:cubicBezTo>
                    <a:pt x="507" y="760"/>
                    <a:pt x="427" y="795"/>
                    <a:pt x="318" y="795"/>
                  </a:cubicBezTo>
                  <a:cubicBezTo>
                    <a:pt x="106" y="795"/>
                    <a:pt x="0" y="661"/>
                    <a:pt x="0" y="393"/>
                  </a:cubicBezTo>
                  <a:cubicBezTo>
                    <a:pt x="0" y="271"/>
                    <a:pt x="26" y="176"/>
                    <a:pt x="76" y="107"/>
                  </a:cubicBezTo>
                  <a:cubicBezTo>
                    <a:pt x="129" y="36"/>
                    <a:pt x="210" y="0"/>
                    <a:pt x="318" y="0"/>
                  </a:cubicBezTo>
                  <a:moveTo>
                    <a:pt x="318" y="78"/>
                  </a:moveTo>
                  <a:cubicBezTo>
                    <a:pt x="245" y="78"/>
                    <a:pt x="194" y="110"/>
                    <a:pt x="167" y="176"/>
                  </a:cubicBezTo>
                  <a:cubicBezTo>
                    <a:pt x="144" y="230"/>
                    <a:pt x="132" y="303"/>
                    <a:pt x="132" y="394"/>
                  </a:cubicBezTo>
                  <a:cubicBezTo>
                    <a:pt x="132" y="490"/>
                    <a:pt x="144" y="565"/>
                    <a:pt x="167" y="619"/>
                  </a:cubicBezTo>
                  <a:cubicBezTo>
                    <a:pt x="194" y="685"/>
                    <a:pt x="245" y="718"/>
                    <a:pt x="318" y="718"/>
                  </a:cubicBezTo>
                  <a:cubicBezTo>
                    <a:pt x="391" y="718"/>
                    <a:pt x="441" y="685"/>
                    <a:pt x="468" y="619"/>
                  </a:cubicBezTo>
                  <a:cubicBezTo>
                    <a:pt x="491" y="565"/>
                    <a:pt x="503" y="491"/>
                    <a:pt x="503" y="398"/>
                  </a:cubicBezTo>
                  <a:cubicBezTo>
                    <a:pt x="503" y="302"/>
                    <a:pt x="491" y="228"/>
                    <a:pt x="468" y="176"/>
                  </a:cubicBezTo>
                  <a:cubicBezTo>
                    <a:pt x="440" y="110"/>
                    <a:pt x="390" y="78"/>
                    <a:pt x="318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gray">
            <a:xfrm>
              <a:off x="7037388" y="4130675"/>
              <a:ext cx="174625" cy="2460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9" y="0"/>
                </a:cxn>
                <a:cxn ang="0">
                  <a:pos x="129" y="465"/>
                </a:cxn>
                <a:cxn ang="0">
                  <a:pos x="152" y="636"/>
                </a:cxn>
                <a:cxn ang="0">
                  <a:pos x="206" y="685"/>
                </a:cxn>
                <a:cxn ang="0">
                  <a:pos x="289" y="697"/>
                </a:cxn>
                <a:cxn ang="0">
                  <a:pos x="422" y="677"/>
                </a:cxn>
                <a:cxn ang="0">
                  <a:pos x="422" y="0"/>
                </a:cxn>
                <a:cxn ang="0">
                  <a:pos x="550" y="0"/>
                </a:cxn>
                <a:cxn ang="0">
                  <a:pos x="550" y="742"/>
                </a:cxn>
                <a:cxn ang="0">
                  <a:pos x="281" y="774"/>
                </a:cxn>
                <a:cxn ang="0">
                  <a:pos x="90" y="734"/>
                </a:cxn>
                <a:cxn ang="0">
                  <a:pos x="7" y="593"/>
                </a:cxn>
                <a:cxn ang="0">
                  <a:pos x="0" y="475"/>
                </a:cxn>
                <a:cxn ang="0">
                  <a:pos x="0" y="0"/>
                </a:cxn>
              </a:cxnLst>
              <a:rect l="0" t="0" r="r" b="b"/>
              <a:pathLst>
                <a:path w="550" h="774">
                  <a:moveTo>
                    <a:pt x="0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9" y="465"/>
                    <a:pt x="129" y="465"/>
                    <a:pt x="129" y="465"/>
                  </a:cubicBezTo>
                  <a:cubicBezTo>
                    <a:pt x="129" y="550"/>
                    <a:pt x="137" y="608"/>
                    <a:pt x="152" y="636"/>
                  </a:cubicBezTo>
                  <a:cubicBezTo>
                    <a:pt x="165" y="660"/>
                    <a:pt x="183" y="676"/>
                    <a:pt x="206" y="685"/>
                  </a:cubicBezTo>
                  <a:cubicBezTo>
                    <a:pt x="225" y="693"/>
                    <a:pt x="253" y="697"/>
                    <a:pt x="289" y="697"/>
                  </a:cubicBezTo>
                  <a:cubicBezTo>
                    <a:pt x="331" y="697"/>
                    <a:pt x="375" y="690"/>
                    <a:pt x="422" y="677"/>
                  </a:cubicBezTo>
                  <a:cubicBezTo>
                    <a:pt x="422" y="0"/>
                    <a:pt x="422" y="0"/>
                    <a:pt x="422" y="0"/>
                  </a:cubicBezTo>
                  <a:cubicBezTo>
                    <a:pt x="550" y="0"/>
                    <a:pt x="550" y="0"/>
                    <a:pt x="550" y="0"/>
                  </a:cubicBezTo>
                  <a:cubicBezTo>
                    <a:pt x="550" y="742"/>
                    <a:pt x="550" y="742"/>
                    <a:pt x="550" y="742"/>
                  </a:cubicBezTo>
                  <a:cubicBezTo>
                    <a:pt x="455" y="763"/>
                    <a:pt x="365" y="774"/>
                    <a:pt x="281" y="774"/>
                  </a:cubicBezTo>
                  <a:cubicBezTo>
                    <a:pt x="196" y="774"/>
                    <a:pt x="132" y="761"/>
                    <a:pt x="90" y="734"/>
                  </a:cubicBezTo>
                  <a:cubicBezTo>
                    <a:pt x="43" y="704"/>
                    <a:pt x="15" y="657"/>
                    <a:pt x="7" y="593"/>
                  </a:cubicBezTo>
                  <a:cubicBezTo>
                    <a:pt x="2" y="563"/>
                    <a:pt x="0" y="523"/>
                    <a:pt x="0" y="4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gray">
            <a:xfrm>
              <a:off x="3935413" y="1814513"/>
              <a:ext cx="787400" cy="608013"/>
            </a:xfrm>
            <a:custGeom>
              <a:avLst/>
              <a:gdLst/>
              <a:ahLst/>
              <a:cxnLst>
                <a:cxn ang="0">
                  <a:pos x="1006" y="801"/>
                </a:cxn>
                <a:cxn ang="0">
                  <a:pos x="627" y="673"/>
                </a:cxn>
                <a:cxn ang="0">
                  <a:pos x="1" y="1294"/>
                </a:cxn>
                <a:cxn ang="0">
                  <a:pos x="627" y="1912"/>
                </a:cxn>
                <a:cxn ang="0">
                  <a:pos x="1103" y="1696"/>
                </a:cxn>
                <a:cxn ang="0">
                  <a:pos x="1103" y="1355"/>
                </a:cxn>
                <a:cxn ang="0">
                  <a:pos x="807" y="1643"/>
                </a:cxn>
                <a:cxn ang="0">
                  <a:pos x="627" y="1681"/>
                </a:cxn>
                <a:cxn ang="0">
                  <a:pos x="235" y="1294"/>
                </a:cxn>
                <a:cxn ang="0">
                  <a:pos x="627" y="905"/>
                </a:cxn>
                <a:cxn ang="0">
                  <a:pos x="902" y="1019"/>
                </a:cxn>
                <a:cxn ang="0">
                  <a:pos x="1145" y="1298"/>
                </a:cxn>
                <a:cxn ang="0">
                  <a:pos x="1708" y="1544"/>
                </a:cxn>
                <a:cxn ang="0">
                  <a:pos x="2477" y="777"/>
                </a:cxn>
                <a:cxn ang="0">
                  <a:pos x="1708" y="0"/>
                </a:cxn>
                <a:cxn ang="0">
                  <a:pos x="1103" y="309"/>
                </a:cxn>
                <a:cxn ang="0">
                  <a:pos x="1103" y="771"/>
                </a:cxn>
                <a:cxn ang="0">
                  <a:pos x="1708" y="244"/>
                </a:cxn>
                <a:cxn ang="0">
                  <a:pos x="2236" y="777"/>
                </a:cxn>
                <a:cxn ang="0">
                  <a:pos x="1708" y="1305"/>
                </a:cxn>
                <a:cxn ang="0">
                  <a:pos x="1365" y="1179"/>
                </a:cxn>
                <a:cxn ang="0">
                  <a:pos x="1006" y="801"/>
                </a:cxn>
              </a:cxnLst>
              <a:rect l="0" t="0" r="r" b="b"/>
              <a:pathLst>
                <a:path w="2477" h="1913">
                  <a:moveTo>
                    <a:pt x="1006" y="801"/>
                  </a:moveTo>
                  <a:cubicBezTo>
                    <a:pt x="916" y="722"/>
                    <a:pt x="771" y="674"/>
                    <a:pt x="627" y="673"/>
                  </a:cubicBezTo>
                  <a:cubicBezTo>
                    <a:pt x="283" y="672"/>
                    <a:pt x="2" y="944"/>
                    <a:pt x="1" y="1294"/>
                  </a:cubicBezTo>
                  <a:cubicBezTo>
                    <a:pt x="0" y="1638"/>
                    <a:pt x="283" y="1911"/>
                    <a:pt x="627" y="1912"/>
                  </a:cubicBezTo>
                  <a:cubicBezTo>
                    <a:pt x="820" y="1913"/>
                    <a:pt x="988" y="1834"/>
                    <a:pt x="1103" y="1696"/>
                  </a:cubicBezTo>
                  <a:cubicBezTo>
                    <a:pt x="1103" y="1355"/>
                    <a:pt x="1103" y="1355"/>
                    <a:pt x="1103" y="1355"/>
                  </a:cubicBezTo>
                  <a:cubicBezTo>
                    <a:pt x="1042" y="1461"/>
                    <a:pt x="918" y="1597"/>
                    <a:pt x="807" y="1643"/>
                  </a:cubicBezTo>
                  <a:cubicBezTo>
                    <a:pt x="751" y="1666"/>
                    <a:pt x="694" y="1681"/>
                    <a:pt x="627" y="1681"/>
                  </a:cubicBezTo>
                  <a:cubicBezTo>
                    <a:pt x="412" y="1681"/>
                    <a:pt x="235" y="1514"/>
                    <a:pt x="235" y="1294"/>
                  </a:cubicBezTo>
                  <a:cubicBezTo>
                    <a:pt x="235" y="1091"/>
                    <a:pt x="398" y="904"/>
                    <a:pt x="627" y="905"/>
                  </a:cubicBezTo>
                  <a:cubicBezTo>
                    <a:pt x="734" y="905"/>
                    <a:pt x="831" y="949"/>
                    <a:pt x="902" y="1019"/>
                  </a:cubicBezTo>
                  <a:cubicBezTo>
                    <a:pt x="976" y="1090"/>
                    <a:pt x="1090" y="1239"/>
                    <a:pt x="1145" y="1298"/>
                  </a:cubicBezTo>
                  <a:cubicBezTo>
                    <a:pt x="1285" y="1449"/>
                    <a:pt x="1486" y="1543"/>
                    <a:pt x="1708" y="1544"/>
                  </a:cubicBezTo>
                  <a:cubicBezTo>
                    <a:pt x="2132" y="1545"/>
                    <a:pt x="2477" y="1201"/>
                    <a:pt x="2477" y="777"/>
                  </a:cubicBezTo>
                  <a:cubicBezTo>
                    <a:pt x="2477" y="353"/>
                    <a:pt x="2132" y="0"/>
                    <a:pt x="1708" y="0"/>
                  </a:cubicBezTo>
                  <a:cubicBezTo>
                    <a:pt x="1461" y="0"/>
                    <a:pt x="1244" y="129"/>
                    <a:pt x="1103" y="309"/>
                  </a:cubicBezTo>
                  <a:cubicBezTo>
                    <a:pt x="1103" y="771"/>
                    <a:pt x="1103" y="771"/>
                    <a:pt x="1103" y="771"/>
                  </a:cubicBezTo>
                  <a:cubicBezTo>
                    <a:pt x="1210" y="478"/>
                    <a:pt x="1404" y="244"/>
                    <a:pt x="1708" y="244"/>
                  </a:cubicBezTo>
                  <a:cubicBezTo>
                    <a:pt x="2000" y="244"/>
                    <a:pt x="2237" y="485"/>
                    <a:pt x="2236" y="777"/>
                  </a:cubicBezTo>
                  <a:cubicBezTo>
                    <a:pt x="2235" y="1069"/>
                    <a:pt x="2000" y="1305"/>
                    <a:pt x="1708" y="1305"/>
                  </a:cubicBezTo>
                  <a:cubicBezTo>
                    <a:pt x="1578" y="1304"/>
                    <a:pt x="1457" y="1257"/>
                    <a:pt x="1365" y="1179"/>
                  </a:cubicBezTo>
                  <a:cubicBezTo>
                    <a:pt x="1251" y="1090"/>
                    <a:pt x="1124" y="901"/>
                    <a:pt x="1006" y="8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gray">
            <a:xfrm>
              <a:off x="2652713" y="2476500"/>
              <a:ext cx="539750" cy="8826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00" y="0"/>
                </a:cxn>
                <a:cxn ang="0">
                  <a:pos x="1700" y="473"/>
                </a:cxn>
                <a:cxn ang="0">
                  <a:pos x="1429" y="286"/>
                </a:cxn>
                <a:cxn ang="0">
                  <a:pos x="642" y="286"/>
                </a:cxn>
                <a:cxn ang="0">
                  <a:pos x="642" y="1104"/>
                </a:cxn>
                <a:cxn ang="0">
                  <a:pos x="1495" y="1104"/>
                </a:cxn>
                <a:cxn ang="0">
                  <a:pos x="1495" y="1537"/>
                </a:cxn>
                <a:cxn ang="0">
                  <a:pos x="1262" y="1398"/>
                </a:cxn>
                <a:cxn ang="0">
                  <a:pos x="642" y="1398"/>
                </a:cxn>
                <a:cxn ang="0">
                  <a:pos x="642" y="2515"/>
                </a:cxn>
                <a:cxn ang="0">
                  <a:pos x="820" y="2777"/>
                </a:cxn>
                <a:cxn ang="0">
                  <a:pos x="11" y="2777"/>
                </a:cxn>
                <a:cxn ang="0">
                  <a:pos x="181" y="2515"/>
                </a:cxn>
                <a:cxn ang="0">
                  <a:pos x="181" y="291"/>
                </a:cxn>
                <a:cxn ang="0">
                  <a:pos x="0" y="0"/>
                </a:cxn>
              </a:cxnLst>
              <a:rect l="0" t="0" r="r" b="b"/>
              <a:pathLst>
                <a:path w="1700" h="2777">
                  <a:moveTo>
                    <a:pt x="0" y="0"/>
                  </a:moveTo>
                  <a:cubicBezTo>
                    <a:pt x="1700" y="0"/>
                    <a:pt x="1700" y="0"/>
                    <a:pt x="1700" y="0"/>
                  </a:cubicBezTo>
                  <a:cubicBezTo>
                    <a:pt x="1700" y="473"/>
                    <a:pt x="1700" y="473"/>
                    <a:pt x="1700" y="473"/>
                  </a:cubicBezTo>
                  <a:cubicBezTo>
                    <a:pt x="1700" y="473"/>
                    <a:pt x="1613" y="287"/>
                    <a:pt x="1429" y="286"/>
                  </a:cubicBezTo>
                  <a:cubicBezTo>
                    <a:pt x="642" y="286"/>
                    <a:pt x="642" y="286"/>
                    <a:pt x="642" y="286"/>
                  </a:cubicBezTo>
                  <a:cubicBezTo>
                    <a:pt x="642" y="1104"/>
                    <a:pt x="642" y="1104"/>
                    <a:pt x="642" y="1104"/>
                  </a:cubicBezTo>
                  <a:cubicBezTo>
                    <a:pt x="1495" y="1104"/>
                    <a:pt x="1495" y="1104"/>
                    <a:pt x="1495" y="1104"/>
                  </a:cubicBezTo>
                  <a:cubicBezTo>
                    <a:pt x="1495" y="1537"/>
                    <a:pt x="1495" y="1537"/>
                    <a:pt x="1495" y="1537"/>
                  </a:cubicBezTo>
                  <a:cubicBezTo>
                    <a:pt x="1495" y="1537"/>
                    <a:pt x="1468" y="1399"/>
                    <a:pt x="1262" y="1398"/>
                  </a:cubicBezTo>
                  <a:cubicBezTo>
                    <a:pt x="642" y="1398"/>
                    <a:pt x="642" y="1398"/>
                    <a:pt x="642" y="1398"/>
                  </a:cubicBezTo>
                  <a:cubicBezTo>
                    <a:pt x="642" y="2515"/>
                    <a:pt x="642" y="2515"/>
                    <a:pt x="642" y="2515"/>
                  </a:cubicBezTo>
                  <a:cubicBezTo>
                    <a:pt x="642" y="2679"/>
                    <a:pt x="820" y="2777"/>
                    <a:pt x="820" y="2777"/>
                  </a:cubicBezTo>
                  <a:cubicBezTo>
                    <a:pt x="11" y="2777"/>
                    <a:pt x="11" y="2777"/>
                    <a:pt x="11" y="2777"/>
                  </a:cubicBezTo>
                  <a:cubicBezTo>
                    <a:pt x="11" y="2777"/>
                    <a:pt x="181" y="2691"/>
                    <a:pt x="181" y="2515"/>
                  </a:cubicBezTo>
                  <a:cubicBezTo>
                    <a:pt x="181" y="291"/>
                    <a:pt x="181" y="291"/>
                    <a:pt x="181" y="291"/>
                  </a:cubicBezTo>
                  <a:cubicBezTo>
                    <a:pt x="181" y="10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gray">
            <a:xfrm>
              <a:off x="3929063" y="2476500"/>
              <a:ext cx="355600" cy="1230313"/>
            </a:xfrm>
            <a:custGeom>
              <a:avLst/>
              <a:gdLst/>
              <a:ahLst/>
              <a:cxnLst>
                <a:cxn ang="0">
                  <a:pos x="257" y="0"/>
                </a:cxn>
                <a:cxn ang="0">
                  <a:pos x="1123" y="0"/>
                </a:cxn>
                <a:cxn ang="0">
                  <a:pos x="929" y="242"/>
                </a:cxn>
                <a:cxn ang="0">
                  <a:pos x="929" y="2847"/>
                </a:cxn>
                <a:cxn ang="0">
                  <a:pos x="0" y="3869"/>
                </a:cxn>
                <a:cxn ang="0">
                  <a:pos x="443" y="2847"/>
                </a:cxn>
                <a:cxn ang="0">
                  <a:pos x="443" y="242"/>
                </a:cxn>
                <a:cxn ang="0">
                  <a:pos x="257" y="0"/>
                </a:cxn>
              </a:cxnLst>
              <a:rect l="0" t="0" r="r" b="b"/>
              <a:pathLst>
                <a:path w="1123" h="3872">
                  <a:moveTo>
                    <a:pt x="257" y="0"/>
                  </a:moveTo>
                  <a:cubicBezTo>
                    <a:pt x="1123" y="0"/>
                    <a:pt x="1123" y="0"/>
                    <a:pt x="1123" y="0"/>
                  </a:cubicBezTo>
                  <a:cubicBezTo>
                    <a:pt x="1123" y="0"/>
                    <a:pt x="929" y="92"/>
                    <a:pt x="929" y="242"/>
                  </a:cubicBezTo>
                  <a:cubicBezTo>
                    <a:pt x="929" y="2847"/>
                    <a:pt x="929" y="2847"/>
                    <a:pt x="929" y="2847"/>
                  </a:cubicBezTo>
                  <a:cubicBezTo>
                    <a:pt x="929" y="3727"/>
                    <a:pt x="46" y="3872"/>
                    <a:pt x="0" y="3869"/>
                  </a:cubicBezTo>
                  <a:cubicBezTo>
                    <a:pt x="75" y="3821"/>
                    <a:pt x="442" y="3508"/>
                    <a:pt x="443" y="2847"/>
                  </a:cubicBezTo>
                  <a:cubicBezTo>
                    <a:pt x="443" y="242"/>
                    <a:pt x="443" y="242"/>
                    <a:pt x="443" y="242"/>
                  </a:cubicBezTo>
                  <a:cubicBezTo>
                    <a:pt x="444" y="100"/>
                    <a:pt x="257" y="0"/>
                    <a:pt x="25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gray">
            <a:xfrm>
              <a:off x="4322763" y="2476500"/>
              <a:ext cx="276225" cy="8826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68" y="0"/>
                </a:cxn>
                <a:cxn ang="0">
                  <a:pos x="675" y="245"/>
                </a:cxn>
                <a:cxn ang="0">
                  <a:pos x="675" y="2514"/>
                </a:cxn>
                <a:cxn ang="0">
                  <a:pos x="868" y="2778"/>
                </a:cxn>
                <a:cxn ang="0">
                  <a:pos x="0" y="2778"/>
                </a:cxn>
                <a:cxn ang="0">
                  <a:pos x="193" y="2514"/>
                </a:cxn>
                <a:cxn ang="0">
                  <a:pos x="193" y="245"/>
                </a:cxn>
                <a:cxn ang="0">
                  <a:pos x="0" y="0"/>
                </a:cxn>
              </a:cxnLst>
              <a:rect l="0" t="0" r="r" b="b"/>
              <a:pathLst>
                <a:path w="868" h="2778">
                  <a:moveTo>
                    <a:pt x="0" y="0"/>
                  </a:moveTo>
                  <a:cubicBezTo>
                    <a:pt x="868" y="0"/>
                    <a:pt x="868" y="0"/>
                    <a:pt x="868" y="0"/>
                  </a:cubicBezTo>
                  <a:cubicBezTo>
                    <a:pt x="868" y="0"/>
                    <a:pt x="675" y="92"/>
                    <a:pt x="675" y="245"/>
                  </a:cubicBezTo>
                  <a:cubicBezTo>
                    <a:pt x="675" y="2514"/>
                    <a:pt x="675" y="2514"/>
                    <a:pt x="675" y="2514"/>
                  </a:cubicBezTo>
                  <a:cubicBezTo>
                    <a:pt x="675" y="2677"/>
                    <a:pt x="868" y="2778"/>
                    <a:pt x="868" y="2778"/>
                  </a:cubicBezTo>
                  <a:cubicBezTo>
                    <a:pt x="0" y="2778"/>
                    <a:pt x="0" y="2778"/>
                    <a:pt x="0" y="2778"/>
                  </a:cubicBezTo>
                  <a:cubicBezTo>
                    <a:pt x="0" y="2778"/>
                    <a:pt x="193" y="2677"/>
                    <a:pt x="193" y="2514"/>
                  </a:cubicBezTo>
                  <a:cubicBezTo>
                    <a:pt x="193" y="245"/>
                    <a:pt x="193" y="245"/>
                    <a:pt x="193" y="245"/>
                  </a:cubicBezTo>
                  <a:cubicBezTo>
                    <a:pt x="193" y="9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gray">
            <a:xfrm>
              <a:off x="4600575" y="2476500"/>
              <a:ext cx="660400" cy="882650"/>
            </a:xfrm>
            <a:custGeom>
              <a:avLst/>
              <a:gdLst/>
              <a:ahLst/>
              <a:cxnLst>
                <a:cxn ang="0">
                  <a:pos x="170" y="0"/>
                </a:cxn>
                <a:cxn ang="0">
                  <a:pos x="2079" y="0"/>
                </a:cxn>
                <a:cxn ang="0">
                  <a:pos x="1917" y="505"/>
                </a:cxn>
                <a:cxn ang="0">
                  <a:pos x="1684" y="293"/>
                </a:cxn>
                <a:cxn ang="0">
                  <a:pos x="1288" y="293"/>
                </a:cxn>
                <a:cxn ang="0">
                  <a:pos x="1288" y="2515"/>
                </a:cxn>
                <a:cxn ang="0">
                  <a:pos x="1474" y="2777"/>
                </a:cxn>
                <a:cxn ang="0">
                  <a:pos x="624" y="2777"/>
                </a:cxn>
                <a:cxn ang="0">
                  <a:pos x="808" y="2515"/>
                </a:cxn>
                <a:cxn ang="0">
                  <a:pos x="808" y="293"/>
                </a:cxn>
                <a:cxn ang="0">
                  <a:pos x="330" y="293"/>
                </a:cxn>
                <a:cxn ang="0">
                  <a:pos x="0" y="547"/>
                </a:cxn>
                <a:cxn ang="0">
                  <a:pos x="170" y="0"/>
                </a:cxn>
              </a:cxnLst>
              <a:rect l="0" t="0" r="r" b="b"/>
              <a:pathLst>
                <a:path w="2079" h="2777">
                  <a:moveTo>
                    <a:pt x="170" y="0"/>
                  </a:moveTo>
                  <a:cubicBezTo>
                    <a:pt x="2079" y="0"/>
                    <a:pt x="2079" y="0"/>
                    <a:pt x="2079" y="0"/>
                  </a:cubicBezTo>
                  <a:cubicBezTo>
                    <a:pt x="1917" y="505"/>
                    <a:pt x="1917" y="505"/>
                    <a:pt x="1917" y="505"/>
                  </a:cubicBezTo>
                  <a:cubicBezTo>
                    <a:pt x="1917" y="505"/>
                    <a:pt x="1869" y="293"/>
                    <a:pt x="1684" y="293"/>
                  </a:cubicBezTo>
                  <a:cubicBezTo>
                    <a:pt x="1288" y="293"/>
                    <a:pt x="1288" y="293"/>
                    <a:pt x="1288" y="293"/>
                  </a:cubicBezTo>
                  <a:cubicBezTo>
                    <a:pt x="1288" y="2515"/>
                    <a:pt x="1288" y="2515"/>
                    <a:pt x="1288" y="2515"/>
                  </a:cubicBezTo>
                  <a:cubicBezTo>
                    <a:pt x="1288" y="2656"/>
                    <a:pt x="1474" y="2777"/>
                    <a:pt x="1474" y="2777"/>
                  </a:cubicBezTo>
                  <a:cubicBezTo>
                    <a:pt x="624" y="2777"/>
                    <a:pt x="624" y="2777"/>
                    <a:pt x="624" y="2777"/>
                  </a:cubicBezTo>
                  <a:cubicBezTo>
                    <a:pt x="624" y="2777"/>
                    <a:pt x="809" y="2668"/>
                    <a:pt x="808" y="2515"/>
                  </a:cubicBezTo>
                  <a:cubicBezTo>
                    <a:pt x="808" y="293"/>
                    <a:pt x="808" y="293"/>
                    <a:pt x="808" y="293"/>
                  </a:cubicBezTo>
                  <a:cubicBezTo>
                    <a:pt x="330" y="293"/>
                    <a:pt x="330" y="293"/>
                    <a:pt x="330" y="293"/>
                  </a:cubicBezTo>
                  <a:cubicBezTo>
                    <a:pt x="195" y="293"/>
                    <a:pt x="0" y="547"/>
                    <a:pt x="0" y="547"/>
                  </a:cubicBezTo>
                  <a:lnTo>
                    <a:pt x="170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gray">
            <a:xfrm>
              <a:off x="5800725" y="2476500"/>
              <a:ext cx="738188" cy="895350"/>
            </a:xfrm>
            <a:custGeom>
              <a:avLst/>
              <a:gdLst/>
              <a:ahLst/>
              <a:cxnLst>
                <a:cxn ang="0">
                  <a:pos x="1488" y="0"/>
                </a:cxn>
                <a:cxn ang="0">
                  <a:pos x="2324" y="0"/>
                </a:cxn>
                <a:cxn ang="0">
                  <a:pos x="2145" y="244"/>
                </a:cxn>
                <a:cxn ang="0">
                  <a:pos x="2145" y="1926"/>
                </a:cxn>
                <a:cxn ang="0">
                  <a:pos x="1185" y="2820"/>
                </a:cxn>
                <a:cxn ang="0">
                  <a:pos x="185" y="1926"/>
                </a:cxn>
                <a:cxn ang="0">
                  <a:pos x="185" y="244"/>
                </a:cxn>
                <a:cxn ang="0">
                  <a:pos x="0" y="0"/>
                </a:cxn>
                <a:cxn ang="0">
                  <a:pos x="861" y="0"/>
                </a:cxn>
                <a:cxn ang="0">
                  <a:pos x="669" y="244"/>
                </a:cxn>
                <a:cxn ang="0">
                  <a:pos x="669" y="1926"/>
                </a:cxn>
                <a:cxn ang="0">
                  <a:pos x="1185" y="2519"/>
                </a:cxn>
                <a:cxn ang="0">
                  <a:pos x="1677" y="1926"/>
                </a:cxn>
                <a:cxn ang="0">
                  <a:pos x="1677" y="244"/>
                </a:cxn>
                <a:cxn ang="0">
                  <a:pos x="1488" y="0"/>
                </a:cxn>
              </a:cxnLst>
              <a:rect l="0" t="0" r="r" b="b"/>
              <a:pathLst>
                <a:path w="2324" h="2820">
                  <a:moveTo>
                    <a:pt x="1488" y="0"/>
                  </a:moveTo>
                  <a:cubicBezTo>
                    <a:pt x="2324" y="0"/>
                    <a:pt x="2324" y="0"/>
                    <a:pt x="2324" y="0"/>
                  </a:cubicBezTo>
                  <a:cubicBezTo>
                    <a:pt x="2324" y="0"/>
                    <a:pt x="2145" y="94"/>
                    <a:pt x="2145" y="244"/>
                  </a:cubicBezTo>
                  <a:cubicBezTo>
                    <a:pt x="2145" y="1926"/>
                    <a:pt x="2145" y="1926"/>
                    <a:pt x="2145" y="1926"/>
                  </a:cubicBezTo>
                  <a:cubicBezTo>
                    <a:pt x="2144" y="2610"/>
                    <a:pt x="1578" y="2820"/>
                    <a:pt x="1185" y="2820"/>
                  </a:cubicBezTo>
                  <a:cubicBezTo>
                    <a:pt x="795" y="2820"/>
                    <a:pt x="184" y="2607"/>
                    <a:pt x="185" y="1926"/>
                  </a:cubicBezTo>
                  <a:cubicBezTo>
                    <a:pt x="185" y="244"/>
                    <a:pt x="185" y="244"/>
                    <a:pt x="185" y="244"/>
                  </a:cubicBezTo>
                  <a:cubicBezTo>
                    <a:pt x="185" y="94"/>
                    <a:pt x="0" y="0"/>
                    <a:pt x="0" y="0"/>
                  </a:cubicBezTo>
                  <a:cubicBezTo>
                    <a:pt x="861" y="0"/>
                    <a:pt x="861" y="0"/>
                    <a:pt x="861" y="0"/>
                  </a:cubicBezTo>
                  <a:cubicBezTo>
                    <a:pt x="861" y="0"/>
                    <a:pt x="669" y="92"/>
                    <a:pt x="669" y="244"/>
                  </a:cubicBezTo>
                  <a:cubicBezTo>
                    <a:pt x="669" y="1926"/>
                    <a:pt x="669" y="1926"/>
                    <a:pt x="669" y="1926"/>
                  </a:cubicBezTo>
                  <a:cubicBezTo>
                    <a:pt x="669" y="2285"/>
                    <a:pt x="907" y="2519"/>
                    <a:pt x="1185" y="2519"/>
                  </a:cubicBezTo>
                  <a:cubicBezTo>
                    <a:pt x="1464" y="2519"/>
                    <a:pt x="1676" y="2275"/>
                    <a:pt x="1677" y="1926"/>
                  </a:cubicBezTo>
                  <a:cubicBezTo>
                    <a:pt x="1677" y="244"/>
                    <a:pt x="1677" y="244"/>
                    <a:pt x="1677" y="244"/>
                  </a:cubicBezTo>
                  <a:cubicBezTo>
                    <a:pt x="1677" y="94"/>
                    <a:pt x="1488" y="0"/>
                    <a:pt x="1488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gray">
            <a:xfrm>
              <a:off x="3217863" y="2476500"/>
              <a:ext cx="744538" cy="898525"/>
            </a:xfrm>
            <a:custGeom>
              <a:avLst/>
              <a:gdLst/>
              <a:ahLst/>
              <a:cxnLst>
                <a:cxn ang="0">
                  <a:pos x="1495" y="0"/>
                </a:cxn>
                <a:cxn ang="0">
                  <a:pos x="2347" y="0"/>
                </a:cxn>
                <a:cxn ang="0">
                  <a:pos x="2166" y="247"/>
                </a:cxn>
                <a:cxn ang="0">
                  <a:pos x="2166" y="1925"/>
                </a:cxn>
                <a:cxn ang="0">
                  <a:pos x="1176" y="2827"/>
                </a:cxn>
                <a:cxn ang="0">
                  <a:pos x="175" y="1925"/>
                </a:cxn>
                <a:cxn ang="0">
                  <a:pos x="174" y="247"/>
                </a:cxn>
                <a:cxn ang="0">
                  <a:pos x="0" y="0"/>
                </a:cxn>
                <a:cxn ang="0">
                  <a:pos x="860" y="0"/>
                </a:cxn>
                <a:cxn ang="0">
                  <a:pos x="661" y="247"/>
                </a:cxn>
                <a:cxn ang="0">
                  <a:pos x="660" y="1925"/>
                </a:cxn>
                <a:cxn ang="0">
                  <a:pos x="1176" y="2527"/>
                </a:cxn>
                <a:cxn ang="0">
                  <a:pos x="1678" y="1925"/>
                </a:cxn>
                <a:cxn ang="0">
                  <a:pos x="1679" y="247"/>
                </a:cxn>
                <a:cxn ang="0">
                  <a:pos x="1495" y="0"/>
                </a:cxn>
              </a:cxnLst>
              <a:rect l="0" t="0" r="r" b="b"/>
              <a:pathLst>
                <a:path w="2347" h="2827">
                  <a:moveTo>
                    <a:pt x="1495" y="0"/>
                  </a:moveTo>
                  <a:cubicBezTo>
                    <a:pt x="2347" y="0"/>
                    <a:pt x="2347" y="0"/>
                    <a:pt x="2347" y="0"/>
                  </a:cubicBezTo>
                  <a:cubicBezTo>
                    <a:pt x="2347" y="0"/>
                    <a:pt x="2166" y="98"/>
                    <a:pt x="2166" y="247"/>
                  </a:cubicBezTo>
                  <a:cubicBezTo>
                    <a:pt x="2166" y="248"/>
                    <a:pt x="2166" y="1925"/>
                    <a:pt x="2166" y="1925"/>
                  </a:cubicBezTo>
                  <a:cubicBezTo>
                    <a:pt x="2166" y="2611"/>
                    <a:pt x="1573" y="2827"/>
                    <a:pt x="1176" y="2827"/>
                  </a:cubicBezTo>
                  <a:cubicBezTo>
                    <a:pt x="786" y="2827"/>
                    <a:pt x="175" y="2608"/>
                    <a:pt x="175" y="192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4" y="97"/>
                    <a:pt x="0" y="0"/>
                    <a:pt x="0" y="0"/>
                  </a:cubicBezTo>
                  <a:cubicBezTo>
                    <a:pt x="860" y="0"/>
                    <a:pt x="860" y="0"/>
                    <a:pt x="860" y="0"/>
                  </a:cubicBezTo>
                  <a:cubicBezTo>
                    <a:pt x="860" y="0"/>
                    <a:pt x="661" y="98"/>
                    <a:pt x="661" y="247"/>
                  </a:cubicBezTo>
                  <a:cubicBezTo>
                    <a:pt x="660" y="1925"/>
                    <a:pt x="660" y="1925"/>
                    <a:pt x="660" y="1925"/>
                  </a:cubicBezTo>
                  <a:cubicBezTo>
                    <a:pt x="660" y="2280"/>
                    <a:pt x="897" y="2525"/>
                    <a:pt x="1176" y="2527"/>
                  </a:cubicBezTo>
                  <a:cubicBezTo>
                    <a:pt x="1454" y="2528"/>
                    <a:pt x="1678" y="2277"/>
                    <a:pt x="1678" y="1925"/>
                  </a:cubicBezTo>
                  <a:cubicBezTo>
                    <a:pt x="1679" y="247"/>
                    <a:pt x="1679" y="247"/>
                    <a:pt x="1679" y="247"/>
                  </a:cubicBezTo>
                  <a:cubicBezTo>
                    <a:pt x="1679" y="97"/>
                    <a:pt x="1495" y="0"/>
                    <a:pt x="1495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gray">
            <a:xfrm>
              <a:off x="5230813" y="2459038"/>
              <a:ext cx="568325" cy="915988"/>
            </a:xfrm>
            <a:custGeom>
              <a:avLst/>
              <a:gdLst/>
              <a:ahLst/>
              <a:cxnLst>
                <a:cxn ang="0">
                  <a:pos x="1537" y="501"/>
                </a:cxn>
                <a:cxn ang="0">
                  <a:pos x="1067" y="289"/>
                </a:cxn>
                <a:cxn ang="0">
                  <a:pos x="528" y="709"/>
                </a:cxn>
                <a:cxn ang="0">
                  <a:pos x="1042" y="1230"/>
                </a:cxn>
                <a:cxn ang="0">
                  <a:pos x="1786" y="2067"/>
                </a:cxn>
                <a:cxn ang="0">
                  <a:pos x="681" y="2885"/>
                </a:cxn>
                <a:cxn ang="0">
                  <a:pos x="162" y="2813"/>
                </a:cxn>
                <a:cxn ang="0">
                  <a:pos x="0" y="2280"/>
                </a:cxn>
                <a:cxn ang="0">
                  <a:pos x="689" y="2582"/>
                </a:cxn>
                <a:cxn ang="0">
                  <a:pos x="1311" y="2126"/>
                </a:cxn>
                <a:cxn ang="0">
                  <a:pos x="48" y="765"/>
                </a:cxn>
                <a:cxn ang="0">
                  <a:pos x="1019" y="0"/>
                </a:cxn>
                <a:cxn ang="0">
                  <a:pos x="1537" y="72"/>
                </a:cxn>
                <a:cxn ang="0">
                  <a:pos x="1537" y="501"/>
                </a:cxn>
              </a:cxnLst>
              <a:rect l="0" t="0" r="r" b="b"/>
              <a:pathLst>
                <a:path w="1788" h="2885">
                  <a:moveTo>
                    <a:pt x="1537" y="501"/>
                  </a:moveTo>
                  <a:cubicBezTo>
                    <a:pt x="1537" y="501"/>
                    <a:pt x="1416" y="290"/>
                    <a:pt x="1067" y="289"/>
                  </a:cubicBezTo>
                  <a:cubicBezTo>
                    <a:pt x="718" y="288"/>
                    <a:pt x="529" y="471"/>
                    <a:pt x="528" y="709"/>
                  </a:cubicBezTo>
                  <a:cubicBezTo>
                    <a:pt x="527" y="978"/>
                    <a:pt x="729" y="1079"/>
                    <a:pt x="1042" y="1230"/>
                  </a:cubicBezTo>
                  <a:cubicBezTo>
                    <a:pt x="1340" y="1373"/>
                    <a:pt x="1788" y="1570"/>
                    <a:pt x="1786" y="2067"/>
                  </a:cubicBezTo>
                  <a:cubicBezTo>
                    <a:pt x="1785" y="2513"/>
                    <a:pt x="1390" y="2885"/>
                    <a:pt x="681" y="2885"/>
                  </a:cubicBezTo>
                  <a:cubicBezTo>
                    <a:pt x="463" y="2884"/>
                    <a:pt x="162" y="2813"/>
                    <a:pt x="162" y="2813"/>
                  </a:cubicBezTo>
                  <a:cubicBezTo>
                    <a:pt x="0" y="2280"/>
                    <a:pt x="0" y="2280"/>
                    <a:pt x="0" y="2280"/>
                  </a:cubicBezTo>
                  <a:cubicBezTo>
                    <a:pt x="150" y="2426"/>
                    <a:pt x="416" y="2582"/>
                    <a:pt x="689" y="2582"/>
                  </a:cubicBezTo>
                  <a:cubicBezTo>
                    <a:pt x="973" y="2582"/>
                    <a:pt x="1311" y="2407"/>
                    <a:pt x="1311" y="2126"/>
                  </a:cubicBezTo>
                  <a:cubicBezTo>
                    <a:pt x="1311" y="1583"/>
                    <a:pt x="48" y="1674"/>
                    <a:pt x="48" y="765"/>
                  </a:cubicBezTo>
                  <a:cubicBezTo>
                    <a:pt x="48" y="453"/>
                    <a:pt x="266" y="0"/>
                    <a:pt x="1019" y="0"/>
                  </a:cubicBezTo>
                  <a:cubicBezTo>
                    <a:pt x="1264" y="0"/>
                    <a:pt x="1537" y="72"/>
                    <a:pt x="1537" y="72"/>
                  </a:cubicBezTo>
                  <a:lnTo>
                    <a:pt x="1537" y="50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570580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" descr="F_Tool_Middle_Cover"/>
          <p:cNvGrpSpPr>
            <a:grpSpLocks/>
          </p:cNvGrpSpPr>
          <p:nvPr userDrawn="1"/>
        </p:nvGrpSpPr>
        <p:grpSpPr bwMode="auto">
          <a:xfrm>
            <a:off x="0" y="5"/>
            <a:ext cx="9144000" cy="2934891"/>
            <a:chOff x="0" y="0"/>
            <a:chExt cx="5760" cy="2465"/>
          </a:xfrm>
        </p:grpSpPr>
        <p:pic>
          <p:nvPicPr>
            <p:cNvPr id="21" name="Picture 12" descr="MiddleGray_L150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0" y="0"/>
              <a:ext cx="5760" cy="2465"/>
            </a:xfrm>
            <a:prstGeom prst="rect">
              <a:avLst/>
            </a:prstGeom>
            <a:noFill/>
          </p:spPr>
        </p:pic>
        <p:grpSp>
          <p:nvGrpSpPr>
            <p:cNvPr id="5" name="Group 13"/>
            <p:cNvGrpSpPr>
              <a:grpSpLocks noChangeAspect="1"/>
            </p:cNvGrpSpPr>
            <p:nvPr/>
          </p:nvGrpSpPr>
          <p:grpSpPr bwMode="auto">
            <a:xfrm>
              <a:off x="4604" y="117"/>
              <a:ext cx="1038" cy="580"/>
              <a:chOff x="4604" y="117"/>
              <a:chExt cx="1038" cy="580"/>
            </a:xfrm>
          </p:grpSpPr>
          <p:sp>
            <p:nvSpPr>
              <p:cNvPr id="23" name="AutoShape 14"/>
              <p:cNvSpPr>
                <a:spLocks noChangeAspect="1" noChangeArrowheads="1" noTextEdit="1"/>
              </p:cNvSpPr>
              <p:nvPr/>
            </p:nvSpPr>
            <p:spPr bwMode="gray">
              <a:xfrm>
                <a:off x="4604" y="117"/>
                <a:ext cx="1038" cy="5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24" name="Freeform 15"/>
              <p:cNvSpPr>
                <a:spLocks/>
              </p:cNvSpPr>
              <p:nvPr/>
            </p:nvSpPr>
            <p:spPr bwMode="gray">
              <a:xfrm>
                <a:off x="5115" y="216"/>
                <a:ext cx="132" cy="102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25" name="Freeform 16"/>
              <p:cNvSpPr>
                <a:spLocks/>
              </p:cNvSpPr>
              <p:nvPr/>
            </p:nvSpPr>
            <p:spPr bwMode="gray">
              <a:xfrm>
                <a:off x="4899" y="327"/>
                <a:ext cx="91" cy="1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26" name="Freeform 17"/>
              <p:cNvSpPr>
                <a:spLocks/>
              </p:cNvSpPr>
              <p:nvPr/>
            </p:nvSpPr>
            <p:spPr bwMode="gray">
              <a:xfrm>
                <a:off x="5114" y="327"/>
                <a:ext cx="60" cy="207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27" name="Freeform 18"/>
              <p:cNvSpPr>
                <a:spLocks/>
              </p:cNvSpPr>
              <p:nvPr/>
            </p:nvSpPr>
            <p:spPr bwMode="gray">
              <a:xfrm>
                <a:off x="5180" y="327"/>
                <a:ext cx="47" cy="1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28" name="Freeform 19"/>
              <p:cNvSpPr>
                <a:spLocks/>
              </p:cNvSpPr>
              <p:nvPr/>
            </p:nvSpPr>
            <p:spPr bwMode="gray">
              <a:xfrm>
                <a:off x="5227" y="327"/>
                <a:ext cx="111" cy="148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29" name="Freeform 20"/>
              <p:cNvSpPr>
                <a:spLocks/>
              </p:cNvSpPr>
              <p:nvPr/>
            </p:nvSpPr>
            <p:spPr bwMode="gray">
              <a:xfrm>
                <a:off x="5429" y="327"/>
                <a:ext cx="124" cy="151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30" name="Freeform 21"/>
              <p:cNvSpPr>
                <a:spLocks/>
              </p:cNvSpPr>
              <p:nvPr/>
            </p:nvSpPr>
            <p:spPr bwMode="gray">
              <a:xfrm>
                <a:off x="4994" y="327"/>
                <a:ext cx="125" cy="151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  <p:sp>
            <p:nvSpPr>
              <p:cNvPr id="31" name="Freeform 22"/>
              <p:cNvSpPr>
                <a:spLocks/>
              </p:cNvSpPr>
              <p:nvPr/>
            </p:nvSpPr>
            <p:spPr bwMode="gray">
              <a:xfrm>
                <a:off x="5333" y="324"/>
                <a:ext cx="95" cy="154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  <a:ea typeface="MS UI Gothic"/>
                  <a:cs typeface="Arial" charset="0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4" y="1601100"/>
            <a:ext cx="8496150" cy="7857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tabLst>
                <a:tab pos="3676282" algn="l"/>
              </a:tabLst>
              <a:defRPr kumimoji="1" lang="de-DE" altLang="ja-JP" sz="3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4004" y="2772905"/>
            <a:ext cx="8496150" cy="2066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4770" indent="-304770" algn="l" defTabSz="457154" rtl="0" fontAlgn="base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87867E"/>
              </a:buClr>
              <a:buFont typeface="Wingdings" pitchFamily="2" charset="2"/>
              <a:buChar char="n"/>
              <a:defRPr kumimoji="1" lang="de-DE" altLang="ja-JP" sz="2400" b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1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2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8010612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MiddleGray_L150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gray">
          <a:xfrm>
            <a:off x="0" y="5"/>
            <a:ext cx="9144000" cy="2934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3"/>
          <p:cNvGrpSpPr>
            <a:grpSpLocks noChangeAspect="1"/>
          </p:cNvGrpSpPr>
          <p:nvPr/>
        </p:nvGrpSpPr>
        <p:grpSpPr bwMode="auto">
          <a:xfrm>
            <a:off x="7308874" y="139324"/>
            <a:ext cx="1647825" cy="690563"/>
            <a:chOff x="4604" y="117"/>
            <a:chExt cx="1038" cy="580"/>
          </a:xfrm>
        </p:grpSpPr>
        <p:sp>
          <p:nvSpPr>
            <p:cNvPr id="5" name="AutoShape 14"/>
            <p:cNvSpPr>
              <a:spLocks noChangeAspect="1" noChangeArrowheads="1" noTextEdit="1"/>
            </p:cNvSpPr>
            <p:nvPr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" name="Freeform 15"/>
            <p:cNvSpPr>
              <a:spLocks/>
            </p:cNvSpPr>
            <p:nvPr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" name="Freeform 16"/>
            <p:cNvSpPr>
              <a:spLocks/>
            </p:cNvSpPr>
            <p:nvPr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Freeform 17"/>
            <p:cNvSpPr>
              <a:spLocks/>
            </p:cNvSpPr>
            <p:nvPr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" name="Freeform 18"/>
            <p:cNvSpPr>
              <a:spLocks/>
            </p:cNvSpPr>
            <p:nvPr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19"/>
            <p:cNvSpPr>
              <a:spLocks/>
            </p:cNvSpPr>
            <p:nvPr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21"/>
            <p:cNvSpPr>
              <a:spLocks/>
            </p:cNvSpPr>
            <p:nvPr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4" name="Rectangle 2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539761" y="3544512"/>
            <a:ext cx="288925" cy="1083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dash"/>
            <a:headEnd type="none" w="med" len="med"/>
            <a:tailEnd type="none" w="med" len="med"/>
          </a:ln>
          <a:effectLst/>
        </p:spPr>
        <p:txBody>
          <a:bodyPr lIns="89991" tIns="46795" rIns="89991" bIns="46795" anchor="ctr"/>
          <a:lstStyle/>
          <a:p>
            <a:pPr defTabSz="91430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sz="110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5" name="Rectangle 242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539761" y="3219472"/>
            <a:ext cx="288925" cy="1083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89991" tIns="46795" rIns="89991" bIns="46795" anchor="ctr"/>
          <a:lstStyle/>
          <a:p>
            <a:pPr defTabSz="91430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sz="1100" b="1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7" name="Rectangle 2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258930" y="3706437"/>
            <a:ext cx="1728787" cy="1083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>
              <a:lnSpc>
                <a:spcPct val="90000"/>
              </a:lnSpc>
              <a:defRPr/>
            </a:pPr>
            <a:r>
              <a:rPr lang="en-US" altLang="ja-JP" sz="900" kern="0" dirty="0">
                <a:solidFill>
                  <a:sysClr val="windowText" lastClr="000000"/>
                </a:solidFill>
              </a:rPr>
              <a:t>Changes vs. last month</a:t>
            </a:r>
          </a:p>
        </p:txBody>
      </p:sp>
      <p:cxnSp>
        <p:nvCxnSpPr>
          <p:cNvPr id="18" name="Gerade Verbindung mit Pfeil 18"/>
          <p:cNvCxnSpPr>
            <a:cxnSpLocks noChangeShapeType="1"/>
          </p:cNvCxnSpPr>
          <p:nvPr userDrawn="1"/>
        </p:nvCxnSpPr>
        <p:spPr bwMode="auto">
          <a:xfrm flipV="1">
            <a:off x="539758" y="3759998"/>
            <a:ext cx="360363" cy="1191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/>
            <a:tailEnd type="triangle" w="med" len="med"/>
          </a:ln>
        </p:spPr>
      </p:cxnSp>
      <p:sp>
        <p:nvSpPr>
          <p:cNvPr id="19" name="Rectangle 2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258889" y="3543323"/>
            <a:ext cx="1009650" cy="1083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>
              <a:lnSpc>
                <a:spcPct val="90000"/>
              </a:lnSpc>
              <a:defRPr/>
            </a:pPr>
            <a:r>
              <a:rPr lang="en-US" altLang="ja-JP" sz="900" kern="0" dirty="0">
                <a:solidFill>
                  <a:sysClr val="windowText" lastClr="000000"/>
                </a:solidFill>
              </a:rPr>
              <a:t>Not yet decided</a:t>
            </a:r>
          </a:p>
        </p:txBody>
      </p:sp>
      <p:sp>
        <p:nvSpPr>
          <p:cNvPr id="20" name="Rectangle 242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539761" y="3381398"/>
            <a:ext cx="288925" cy="1083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89991" tIns="46795" rIns="89991" bIns="46795" anchor="ctr"/>
          <a:lstStyle/>
          <a:p>
            <a:pPr defTabSz="91430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sz="1100" b="1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1" name="Rectangle 24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1258888" y="3381398"/>
            <a:ext cx="1223962" cy="1083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>
              <a:lnSpc>
                <a:spcPct val="90000"/>
              </a:lnSpc>
              <a:defRPr/>
            </a:pPr>
            <a:r>
              <a:rPr lang="en-US" altLang="ja-JP" sz="900" kern="0" dirty="0">
                <a:solidFill>
                  <a:sysClr val="windowText" lastClr="000000"/>
                </a:solidFill>
              </a:rPr>
              <a:t>Plan of Record / Product decided / MS0 declared</a:t>
            </a:r>
          </a:p>
        </p:txBody>
      </p:sp>
      <p:sp>
        <p:nvSpPr>
          <p:cNvPr id="22" name="Rectangle 242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539750" y="3842149"/>
            <a:ext cx="287338" cy="107156"/>
          </a:xfrm>
          <a:prstGeom prst="rect">
            <a:avLst/>
          </a:prstGeom>
          <a:solidFill>
            <a:srgbClr val="FFFF99"/>
          </a:solidFill>
          <a:ln w="9525" cap="flat" cmpd="sng" algn="ctr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89991" tIns="46795" rIns="89991" bIns="46795" anchor="ctr"/>
          <a:lstStyle/>
          <a:p>
            <a:pPr defTabSz="91430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sz="1100" b="1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3" name="Rectangle 243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1258889" y="3868362"/>
            <a:ext cx="1225550" cy="1083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>
              <a:lnSpc>
                <a:spcPct val="90000"/>
              </a:lnSpc>
              <a:defRPr/>
            </a:pPr>
            <a:r>
              <a:rPr lang="en-US" altLang="ja-JP" sz="900" kern="0" dirty="0">
                <a:solidFill>
                  <a:sysClr val="windowText" lastClr="000000"/>
                </a:solidFill>
              </a:rPr>
              <a:t>Global Product /PAP announced</a:t>
            </a:r>
          </a:p>
        </p:txBody>
      </p:sp>
      <p:sp>
        <p:nvSpPr>
          <p:cNvPr id="24" name="Rectangle 242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539750" y="4030267"/>
            <a:ext cx="287338" cy="107156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17999" tIns="0" rIns="91424" bIns="0" anchor="ctr"/>
          <a:lstStyle/>
          <a:p>
            <a:pPr defTabSz="914309" eaLnBrk="0" fontAlgn="ctr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ja-JP" sz="700" b="1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5" name="Rectangle 243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1258889" y="4056481"/>
            <a:ext cx="1225550" cy="1083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>
              <a:lnSpc>
                <a:spcPct val="90000"/>
              </a:lnSpc>
              <a:defRPr/>
            </a:pPr>
            <a:r>
              <a:rPr lang="en-US" altLang="ja-JP" sz="900" kern="0" dirty="0">
                <a:solidFill>
                  <a:sysClr val="windowText" lastClr="000000"/>
                </a:solidFill>
              </a:rPr>
              <a:t>Local Product / PAP announced</a:t>
            </a:r>
          </a:p>
        </p:txBody>
      </p:sp>
      <p:sp>
        <p:nvSpPr>
          <p:cNvPr id="26" name="Rectangle 242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539750" y="4245791"/>
            <a:ext cx="287338" cy="1083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0000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89991" tIns="46795" rIns="89991" bIns="46795" anchor="ctr"/>
          <a:lstStyle/>
          <a:p>
            <a:pPr defTabSz="91430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sz="1100" b="1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7" name="Rectangle 243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1258889" y="4273174"/>
            <a:ext cx="1225550" cy="1083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>
              <a:lnSpc>
                <a:spcPct val="90000"/>
              </a:lnSpc>
              <a:defRPr/>
            </a:pPr>
            <a:r>
              <a:rPr lang="en-US" altLang="ja-JP" sz="900" kern="0" dirty="0">
                <a:solidFill>
                  <a:sysClr val="windowText" lastClr="000000"/>
                </a:solidFill>
              </a:rPr>
              <a:t>New product vs. last  month</a:t>
            </a:r>
          </a:p>
        </p:txBody>
      </p:sp>
      <p:sp>
        <p:nvSpPr>
          <p:cNvPr id="28" name="Rectangle 243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1258888" y="3219451"/>
            <a:ext cx="1223962" cy="10715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900" dirty="0">
                <a:solidFill>
                  <a:srgbClr val="000000"/>
                </a:solidFill>
                <a:ea typeface="ＭＳ Ｐゴシック" pitchFamily="34" charset="-128"/>
              </a:rPr>
              <a:t>│← </a:t>
            </a:r>
            <a:r>
              <a:rPr lang="en-US" altLang="ja-JP" sz="900" dirty="0">
                <a:solidFill>
                  <a:srgbClr val="000000"/>
                </a:solidFill>
                <a:ea typeface="ＭＳ Ｐゴシック" pitchFamily="34" charset="-128"/>
              </a:rPr>
              <a:t>VS50  VS65 </a:t>
            </a:r>
            <a:r>
              <a:rPr lang="en-US" altLang="ja-JP" sz="900" dirty="0">
                <a:solidFill>
                  <a:srgbClr val="000000"/>
                </a:solidFill>
                <a:ea typeface="ＭＳ Ｐゴシック" pitchFamily="34" charset="-128"/>
              </a:rPr>
              <a:t>→│</a:t>
            </a:r>
          </a:p>
        </p:txBody>
      </p:sp>
      <p:sp>
        <p:nvSpPr>
          <p:cNvPr id="29" name="Rectangle 243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395288" y="3003968"/>
            <a:ext cx="1223962" cy="1083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89991" tIns="46795" rIns="89991" bIns="46795" anchor="ctr"/>
          <a:lstStyle/>
          <a:p>
            <a:pPr defTabSz="742876">
              <a:lnSpc>
                <a:spcPct val="90000"/>
              </a:lnSpc>
              <a:defRPr/>
            </a:pPr>
            <a:r>
              <a:rPr lang="en-US" altLang="ja-JP" sz="900" kern="0" dirty="0">
                <a:solidFill>
                  <a:sysClr val="windowText" lastClr="000000"/>
                </a:solidFill>
              </a:rPr>
              <a:t>Legend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323850" y="1600102"/>
            <a:ext cx="8496300" cy="7556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algn="l" defTabSz="914309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282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6846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1" descr="\\K16-nas\kunden\Kunden DE\FTS (Fujitsu)\Sina Laustroer\2011.10.24\ReshapingDataCenter_VORSCHAU.jpg\ReshapingDataCenter_VORSCHAU.jpg"/>
          <p:cNvPicPr>
            <a:picLocks noChangeAspect="1" noChangeArrowheads="1"/>
          </p:cNvPicPr>
          <p:nvPr userDrawn="1"/>
        </p:nvPicPr>
        <p:blipFill>
          <a:blip r:embed="rId6" cstate="print"/>
          <a:srcRect t="6298" r="14286" b="11516"/>
          <a:stretch>
            <a:fillRect/>
          </a:stretch>
        </p:blipFill>
        <p:spPr bwMode="gray">
          <a:xfrm>
            <a:off x="-1" y="0"/>
            <a:ext cx="9144001" cy="5143500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5" y="1304104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04" y="3434404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  <p:grpSp>
        <p:nvGrpSpPr>
          <p:cNvPr id="2" name="Group 3"/>
          <p:cNvGrpSpPr>
            <a:grpSpLocks noChangeAspect="1"/>
          </p:cNvGrpSpPr>
          <p:nvPr userDrawn="1"/>
        </p:nvGrpSpPr>
        <p:grpSpPr bwMode="gray">
          <a:xfrm>
            <a:off x="7308859" y="33471"/>
            <a:ext cx="1647825" cy="690563"/>
            <a:chOff x="4604" y="117"/>
            <a:chExt cx="1038" cy="580"/>
          </a:xfrm>
        </p:grpSpPr>
        <p:sp>
          <p:nvSpPr>
            <p:cNvPr id="76" name="AutoShape 4"/>
            <p:cNvSpPr>
              <a:spLocks noChangeAspect="1" noChangeArrowheads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6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8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9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1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2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3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4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5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6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8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20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21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22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23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24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25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26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7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8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9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30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31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32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33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34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Freihandform 51"/>
          <p:cNvSpPr/>
          <p:nvPr userDrawn="1"/>
        </p:nvSpPr>
        <p:spPr bwMode="gray">
          <a:xfrm>
            <a:off x="0" y="195486"/>
            <a:ext cx="4283968" cy="4955158"/>
          </a:xfrm>
          <a:custGeom>
            <a:avLst/>
            <a:gdLst>
              <a:gd name="connsiteX0" fmla="*/ 0 w 4029075"/>
              <a:gd name="connsiteY0" fmla="*/ 0 h 5534025"/>
              <a:gd name="connsiteX1" fmla="*/ 552450 w 4029075"/>
              <a:gd name="connsiteY1" fmla="*/ 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534025"/>
              <a:gd name="connsiteX1" fmla="*/ 577110 w 4029075"/>
              <a:gd name="connsiteY1" fmla="*/ 6166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472365"/>
              <a:gd name="connsiteX1" fmla="*/ 577110 w 4029075"/>
              <a:gd name="connsiteY1" fmla="*/ 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72365"/>
              <a:gd name="connsiteX1" fmla="*/ 577110 w 4029075"/>
              <a:gd name="connsiteY1" fmla="*/ 6166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590800 w 4029075"/>
              <a:gd name="connsiteY4" fmla="*/ 438655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667047 w 4029075"/>
              <a:gd name="connsiteY4" fmla="*/ 431620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36316"/>
              <a:gd name="connsiteY0" fmla="*/ 0 h 5410705"/>
              <a:gd name="connsiteX1" fmla="*/ 577110 w 4036316"/>
              <a:gd name="connsiteY1" fmla="*/ 0 h 5410705"/>
              <a:gd name="connsiteX2" fmla="*/ 1419225 w 4036316"/>
              <a:gd name="connsiteY2" fmla="*/ 791080 h 5410705"/>
              <a:gd name="connsiteX3" fmla="*/ 2352675 w 4036316"/>
              <a:gd name="connsiteY3" fmla="*/ 791080 h 5410705"/>
              <a:gd name="connsiteX4" fmla="*/ 2667047 w 4036316"/>
              <a:gd name="connsiteY4" fmla="*/ 431620 h 5410705"/>
              <a:gd name="connsiteX5" fmla="*/ 4036316 w 4036316"/>
              <a:gd name="connsiteY5" fmla="*/ 431620 h 5410705"/>
              <a:gd name="connsiteX6" fmla="*/ 4029075 w 4036316"/>
              <a:gd name="connsiteY6" fmla="*/ 5410705 h 5410705"/>
              <a:gd name="connsiteX7" fmla="*/ 0 w 4036316"/>
              <a:gd name="connsiteY7" fmla="*/ 5410705 h 5410705"/>
              <a:gd name="connsiteX8" fmla="*/ 0 w 4036316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251023 w 4287339"/>
              <a:gd name="connsiteY7" fmla="*/ 5410705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54148 w 4287339"/>
              <a:gd name="connsiteY4" fmla="*/ 400847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54148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20950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87347" h="5410705">
                <a:moveTo>
                  <a:pt x="0" y="0"/>
                </a:moveTo>
                <a:lnTo>
                  <a:pt x="792204" y="69"/>
                </a:lnTo>
                <a:lnTo>
                  <a:pt x="1656982" y="801626"/>
                </a:lnTo>
                <a:lnTo>
                  <a:pt x="2665889" y="801626"/>
                </a:lnTo>
                <a:lnTo>
                  <a:pt x="2954148" y="431676"/>
                </a:lnTo>
                <a:lnTo>
                  <a:pt x="4287347" y="431676"/>
                </a:lnTo>
                <a:cubicBezTo>
                  <a:pt x="4284933" y="2091371"/>
                  <a:pt x="4282512" y="3751010"/>
                  <a:pt x="4280098" y="5410705"/>
                </a:cubicBezTo>
                <a:lnTo>
                  <a:pt x="0" y="540254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0" rIns="90000" bIns="108000" numCol="1" anchor="b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tabLst>
                <a:tab pos="3676650" algn="l"/>
              </a:tabLst>
            </a:pPr>
            <a:endParaRPr kumimoji="1" lang="de-DE" altLang="ja-JP" sz="4400" dirty="0">
              <a:solidFill>
                <a:srgbClr val="FF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9388" y="2"/>
            <a:ext cx="4104572" cy="3462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0000" bIns="10800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000" kern="1200" noProof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388" y="3462851"/>
            <a:ext cx="4104572" cy="1680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108000" rIns="7200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774738"/>
      </p:ext>
    </p:extLst>
  </p:cSld>
  <p:clrMapOvr>
    <a:masterClrMapping/>
  </p:clrMapOvr>
  <p:transition spd="slow" advTm="15000">
    <p:wip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2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3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3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13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1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45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6" y="2787782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41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2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247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82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41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6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7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8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3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72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7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569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179388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17" y="627464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820930"/>
      </p:ext>
    </p:extLst>
  </p:cSld>
  <p:clrMapOvr>
    <a:masterClrMapping/>
  </p:clrMapOvr>
  <p:transition spd="slow" advTm="15000">
    <p:wip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5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1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9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70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8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78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165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6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119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8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604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8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7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80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80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90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8" y="987427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312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8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573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4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8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850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92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179388" y="627464"/>
            <a:ext cx="5832772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775766"/>
      </p:ext>
    </p:extLst>
  </p:cSld>
  <p:clrMapOvr>
    <a:masterClrMapping/>
  </p:clrMapOvr>
  <p:transition spd="slow" advTm="15000">
    <p:wip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4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8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21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7" y="3003812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062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6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9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895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152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30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30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900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7" y="1563930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30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90" y="1563930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8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092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640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2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289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8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026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8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30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222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93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5" y="627464"/>
            <a:ext cx="5832773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764808"/>
      </p:ext>
    </p:extLst>
  </p:cSld>
  <p:clrMapOvr>
    <a:masterClrMapping/>
  </p:clrMapOvr>
  <p:transition spd="slow" advTm="15000">
    <p:wip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14" y="1563930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77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90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8" y="1563930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739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30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90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30"/>
            <a:ext cx="2665414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36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30"/>
            <a:ext cx="26654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376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2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70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781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6"/>
            <a:ext cx="8642346" cy="1511896"/>
          </a:xfrm>
          <a:prstGeom prst="round1Rect">
            <a:avLst>
              <a:gd name="adj" fmla="val 2520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2"/>
            <a:ext cx="8642346" cy="151192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70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102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263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8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7869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1" descr="\\K16-nas\kunden\Kunden DE\FTS (Fujitsu)\Sina Laustroer\2011.10.24\ReshapingDataCenter_VORSCHAU.jpg\ReshapingDataCenter_VORSCHAU.jpg"/>
          <p:cNvPicPr>
            <a:picLocks noChangeAspect="1" noChangeArrowheads="1"/>
          </p:cNvPicPr>
          <p:nvPr userDrawn="1"/>
        </p:nvPicPr>
        <p:blipFill>
          <a:blip r:embed="rId6" cstate="print"/>
          <a:srcRect t="6298" r="14286" b="11516"/>
          <a:stretch>
            <a:fillRect/>
          </a:stretch>
        </p:blipFill>
        <p:spPr bwMode="gray">
          <a:xfrm>
            <a:off x="-1" y="0"/>
            <a:ext cx="9144001" cy="5143500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5" y="1304104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04" y="3434404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  <p:grpSp>
        <p:nvGrpSpPr>
          <p:cNvPr id="2" name="Group 3"/>
          <p:cNvGrpSpPr>
            <a:grpSpLocks noChangeAspect="1"/>
          </p:cNvGrpSpPr>
          <p:nvPr userDrawn="1"/>
        </p:nvGrpSpPr>
        <p:grpSpPr bwMode="gray">
          <a:xfrm>
            <a:off x="7308859" y="33471"/>
            <a:ext cx="1647825" cy="690563"/>
            <a:chOff x="4604" y="117"/>
            <a:chExt cx="1038" cy="580"/>
          </a:xfrm>
        </p:grpSpPr>
        <p:sp>
          <p:nvSpPr>
            <p:cNvPr id="76" name="AutoShape 4"/>
            <p:cNvSpPr>
              <a:spLocks noChangeAspect="1" noChangeArrowheads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6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8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9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1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2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3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4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5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6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8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20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21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22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23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24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25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26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7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8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9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30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31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32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33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34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Freihandform 51"/>
          <p:cNvSpPr/>
          <p:nvPr userDrawn="1"/>
        </p:nvSpPr>
        <p:spPr bwMode="gray">
          <a:xfrm>
            <a:off x="0" y="195486"/>
            <a:ext cx="4283968" cy="4955158"/>
          </a:xfrm>
          <a:custGeom>
            <a:avLst/>
            <a:gdLst>
              <a:gd name="connsiteX0" fmla="*/ 0 w 4029075"/>
              <a:gd name="connsiteY0" fmla="*/ 0 h 5534025"/>
              <a:gd name="connsiteX1" fmla="*/ 552450 w 4029075"/>
              <a:gd name="connsiteY1" fmla="*/ 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534025"/>
              <a:gd name="connsiteX1" fmla="*/ 577110 w 4029075"/>
              <a:gd name="connsiteY1" fmla="*/ 6166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472365"/>
              <a:gd name="connsiteX1" fmla="*/ 577110 w 4029075"/>
              <a:gd name="connsiteY1" fmla="*/ 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72365"/>
              <a:gd name="connsiteX1" fmla="*/ 577110 w 4029075"/>
              <a:gd name="connsiteY1" fmla="*/ 6166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590800 w 4029075"/>
              <a:gd name="connsiteY4" fmla="*/ 438655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667047 w 4029075"/>
              <a:gd name="connsiteY4" fmla="*/ 431620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36316"/>
              <a:gd name="connsiteY0" fmla="*/ 0 h 5410705"/>
              <a:gd name="connsiteX1" fmla="*/ 577110 w 4036316"/>
              <a:gd name="connsiteY1" fmla="*/ 0 h 5410705"/>
              <a:gd name="connsiteX2" fmla="*/ 1419225 w 4036316"/>
              <a:gd name="connsiteY2" fmla="*/ 791080 h 5410705"/>
              <a:gd name="connsiteX3" fmla="*/ 2352675 w 4036316"/>
              <a:gd name="connsiteY3" fmla="*/ 791080 h 5410705"/>
              <a:gd name="connsiteX4" fmla="*/ 2667047 w 4036316"/>
              <a:gd name="connsiteY4" fmla="*/ 431620 h 5410705"/>
              <a:gd name="connsiteX5" fmla="*/ 4036316 w 4036316"/>
              <a:gd name="connsiteY5" fmla="*/ 431620 h 5410705"/>
              <a:gd name="connsiteX6" fmla="*/ 4029075 w 4036316"/>
              <a:gd name="connsiteY6" fmla="*/ 5410705 h 5410705"/>
              <a:gd name="connsiteX7" fmla="*/ 0 w 4036316"/>
              <a:gd name="connsiteY7" fmla="*/ 5410705 h 5410705"/>
              <a:gd name="connsiteX8" fmla="*/ 0 w 4036316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251023 w 4287339"/>
              <a:gd name="connsiteY7" fmla="*/ 5410705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54148 w 4287339"/>
              <a:gd name="connsiteY4" fmla="*/ 400847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54148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20950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87347" h="5410705">
                <a:moveTo>
                  <a:pt x="0" y="0"/>
                </a:moveTo>
                <a:lnTo>
                  <a:pt x="792204" y="69"/>
                </a:lnTo>
                <a:lnTo>
                  <a:pt x="1656982" y="801626"/>
                </a:lnTo>
                <a:lnTo>
                  <a:pt x="2665889" y="801626"/>
                </a:lnTo>
                <a:lnTo>
                  <a:pt x="2954148" y="431676"/>
                </a:lnTo>
                <a:lnTo>
                  <a:pt x="4287347" y="431676"/>
                </a:lnTo>
                <a:cubicBezTo>
                  <a:pt x="4284933" y="2091371"/>
                  <a:pt x="4282512" y="3751010"/>
                  <a:pt x="4280098" y="5410705"/>
                </a:cubicBezTo>
                <a:lnTo>
                  <a:pt x="0" y="540254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0" rIns="90000" bIns="108000" numCol="1" anchor="b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tabLst>
                <a:tab pos="3676650" algn="l"/>
              </a:tabLst>
            </a:pPr>
            <a:endParaRPr kumimoji="1" lang="de-DE" altLang="ja-JP" sz="4400" dirty="0">
              <a:solidFill>
                <a:srgbClr val="FF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9388" y="2"/>
            <a:ext cx="4104572" cy="3462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0000" bIns="10800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000" kern="1200" noProof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388" y="3462851"/>
            <a:ext cx="4104572" cy="1680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108000" rIns="7200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774738"/>
      </p:ext>
    </p:extLst>
  </p:cSld>
  <p:clrMapOvr>
    <a:masterClrMapping/>
  </p:clrMapOvr>
  <p:transition spd="slow" advTm="15000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681042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627482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235333"/>
      </p:ext>
    </p:extLst>
  </p:cSld>
  <p:clrMapOvr>
    <a:masterClrMapping/>
  </p:clrMapOvr>
  <p:transition spd="slow" advTm="15000">
    <p:wip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2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2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2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13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1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919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6" y="2787782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40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2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946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2787781"/>
            <a:ext cx="8642350" cy="2015995"/>
          </a:xfrm>
        </p:spPr>
        <p:txBody>
          <a:bodyPr/>
          <a:lstStyle>
            <a:lvl1pPr marL="457200" indent="-4572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200"/>
            </a:lvl1pPr>
            <a:lvl2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457200" indent="-457200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40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6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7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8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3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712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7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541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5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737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8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9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7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425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77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6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34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8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399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8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7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31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89" y="681042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4" y="627482"/>
            <a:ext cx="2736850" cy="421241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574928"/>
      </p:ext>
    </p:extLst>
  </p:cSld>
  <p:clrMapOvr>
    <a:masterClrMapping/>
  </p:clrMapOvr>
  <p:transition spd="slow" advTm="15000">
    <p:wip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18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8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8" y="987427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373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7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65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4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7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93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4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7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97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7" y="3003811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391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6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9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692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985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30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30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62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7" y="1563930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30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8" y="1563930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8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571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179393" y="2841782"/>
            <a:ext cx="8785225" cy="1998111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391" y="627462"/>
            <a:ext cx="8785225" cy="2052305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829757"/>
      </p:ext>
    </p:extLst>
  </p:cSld>
  <p:clrMapOvr>
    <a:masterClrMapping/>
  </p:clrMapOvr>
  <p:transition spd="slow" advTm="15000">
    <p:wip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8469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6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2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605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8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392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8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30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610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12" y="1563930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16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8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8" y="1563930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343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30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524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30"/>
            <a:ext cx="2665414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91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30"/>
            <a:ext cx="26654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70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999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2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70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95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179393" y="681039"/>
            <a:ext cx="8785225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393" y="2787780"/>
            <a:ext cx="8785225" cy="2052112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822920"/>
      </p:ext>
    </p:extLst>
  </p:cSld>
  <p:clrMapOvr>
    <a:masterClrMapping/>
  </p:clrMapOvr>
  <p:transition spd="slow" advTm="15000">
    <p:wip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6"/>
            <a:ext cx="8642346" cy="1511896"/>
          </a:xfrm>
          <a:prstGeom prst="round1Rect">
            <a:avLst>
              <a:gd name="adj" fmla="val 2520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2"/>
            <a:ext cx="8642346" cy="151192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70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33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038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7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60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1" descr="\\K16-nas\kunden\Kunden DE\FTS (Fujitsu)\Sina Laustroer\2011.10.24\ReshapingDataCenter_VORSCHAU.jpg\ReshapingDataCenter_VORSCHAU.jpg"/>
          <p:cNvPicPr>
            <a:picLocks noChangeAspect="1" noChangeArrowheads="1"/>
          </p:cNvPicPr>
          <p:nvPr userDrawn="1"/>
        </p:nvPicPr>
        <p:blipFill>
          <a:blip r:embed="rId6" cstate="print"/>
          <a:srcRect t="6298" r="14286" b="11516"/>
          <a:stretch>
            <a:fillRect/>
          </a:stretch>
        </p:blipFill>
        <p:spPr bwMode="gray">
          <a:xfrm>
            <a:off x="-1" y="0"/>
            <a:ext cx="9144001" cy="5143500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5" y="1304104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04" y="3434404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  <p:grpSp>
        <p:nvGrpSpPr>
          <p:cNvPr id="2" name="Group 3"/>
          <p:cNvGrpSpPr>
            <a:grpSpLocks noChangeAspect="1"/>
          </p:cNvGrpSpPr>
          <p:nvPr userDrawn="1"/>
        </p:nvGrpSpPr>
        <p:grpSpPr bwMode="gray">
          <a:xfrm>
            <a:off x="7308859" y="33471"/>
            <a:ext cx="1647825" cy="690563"/>
            <a:chOff x="4604" y="117"/>
            <a:chExt cx="1038" cy="580"/>
          </a:xfrm>
        </p:grpSpPr>
        <p:sp>
          <p:nvSpPr>
            <p:cNvPr id="76" name="AutoShape 4"/>
            <p:cNvSpPr>
              <a:spLocks noChangeAspect="1" noChangeArrowheads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6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8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9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1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2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3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4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5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6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8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20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21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22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23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24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25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26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7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8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9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30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31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32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33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34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Freihandform 51"/>
          <p:cNvSpPr/>
          <p:nvPr userDrawn="1"/>
        </p:nvSpPr>
        <p:spPr bwMode="gray">
          <a:xfrm>
            <a:off x="0" y="195486"/>
            <a:ext cx="4283968" cy="4955158"/>
          </a:xfrm>
          <a:custGeom>
            <a:avLst/>
            <a:gdLst>
              <a:gd name="connsiteX0" fmla="*/ 0 w 4029075"/>
              <a:gd name="connsiteY0" fmla="*/ 0 h 5534025"/>
              <a:gd name="connsiteX1" fmla="*/ 552450 w 4029075"/>
              <a:gd name="connsiteY1" fmla="*/ 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534025"/>
              <a:gd name="connsiteX1" fmla="*/ 577110 w 4029075"/>
              <a:gd name="connsiteY1" fmla="*/ 6166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472365"/>
              <a:gd name="connsiteX1" fmla="*/ 577110 w 4029075"/>
              <a:gd name="connsiteY1" fmla="*/ 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72365"/>
              <a:gd name="connsiteX1" fmla="*/ 577110 w 4029075"/>
              <a:gd name="connsiteY1" fmla="*/ 6166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590800 w 4029075"/>
              <a:gd name="connsiteY4" fmla="*/ 438655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667047 w 4029075"/>
              <a:gd name="connsiteY4" fmla="*/ 431620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36316"/>
              <a:gd name="connsiteY0" fmla="*/ 0 h 5410705"/>
              <a:gd name="connsiteX1" fmla="*/ 577110 w 4036316"/>
              <a:gd name="connsiteY1" fmla="*/ 0 h 5410705"/>
              <a:gd name="connsiteX2" fmla="*/ 1419225 w 4036316"/>
              <a:gd name="connsiteY2" fmla="*/ 791080 h 5410705"/>
              <a:gd name="connsiteX3" fmla="*/ 2352675 w 4036316"/>
              <a:gd name="connsiteY3" fmla="*/ 791080 h 5410705"/>
              <a:gd name="connsiteX4" fmla="*/ 2667047 w 4036316"/>
              <a:gd name="connsiteY4" fmla="*/ 431620 h 5410705"/>
              <a:gd name="connsiteX5" fmla="*/ 4036316 w 4036316"/>
              <a:gd name="connsiteY5" fmla="*/ 431620 h 5410705"/>
              <a:gd name="connsiteX6" fmla="*/ 4029075 w 4036316"/>
              <a:gd name="connsiteY6" fmla="*/ 5410705 h 5410705"/>
              <a:gd name="connsiteX7" fmla="*/ 0 w 4036316"/>
              <a:gd name="connsiteY7" fmla="*/ 5410705 h 5410705"/>
              <a:gd name="connsiteX8" fmla="*/ 0 w 4036316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251023 w 4287339"/>
              <a:gd name="connsiteY7" fmla="*/ 5410705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54148 w 4287339"/>
              <a:gd name="connsiteY4" fmla="*/ 400847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54148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20950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87347" h="5410705">
                <a:moveTo>
                  <a:pt x="0" y="0"/>
                </a:moveTo>
                <a:lnTo>
                  <a:pt x="792204" y="69"/>
                </a:lnTo>
                <a:lnTo>
                  <a:pt x="1656982" y="801626"/>
                </a:lnTo>
                <a:lnTo>
                  <a:pt x="2665889" y="801626"/>
                </a:lnTo>
                <a:lnTo>
                  <a:pt x="2954148" y="431676"/>
                </a:lnTo>
                <a:lnTo>
                  <a:pt x="4287347" y="431676"/>
                </a:lnTo>
                <a:cubicBezTo>
                  <a:pt x="4284933" y="2091371"/>
                  <a:pt x="4282512" y="3751010"/>
                  <a:pt x="4280098" y="5410705"/>
                </a:cubicBezTo>
                <a:lnTo>
                  <a:pt x="0" y="540254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0" rIns="90000" bIns="108000" numCol="1" anchor="b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tabLst>
                <a:tab pos="3676650" algn="l"/>
              </a:tabLst>
            </a:pPr>
            <a:endParaRPr kumimoji="1" lang="de-DE" altLang="ja-JP" sz="4400" dirty="0">
              <a:solidFill>
                <a:srgbClr val="FF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9388" y="2"/>
            <a:ext cx="4104572" cy="3462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0000" bIns="10800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000" kern="1200" noProof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388" y="3462851"/>
            <a:ext cx="4104572" cy="1680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108000" rIns="7200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774738"/>
      </p:ext>
    </p:extLst>
  </p:cSld>
  <p:clrMapOvr>
    <a:masterClrMapping/>
  </p:clrMapOvr>
  <p:transition spd="slow" advTm="15000">
    <p:wip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2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2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2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58470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6" y="2787782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>
                <a:latin typeface="+mn-lt"/>
              </a:defRPr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40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2050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>
                <a:latin typeface="+mj-lt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7"/>
            <a:ext cx="8642350" cy="38163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241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5"/>
            <a:ext cx="4177159" cy="38163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0461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8"/>
            <a:ext cx="2736999" cy="381634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9"/>
            <a:ext cx="2808312" cy="3816713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7"/>
            <a:ext cx="2664990" cy="381634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93066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53282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179393" y="1221601"/>
            <a:ext cx="8785225" cy="361829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99543"/>
      </p:ext>
    </p:extLst>
  </p:cSld>
  <p:clrMapOvr>
    <a:masterClrMapping/>
  </p:clrMapOvr>
  <p:transition spd="slow" advTm="15000">
    <p:wip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7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8658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1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31241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6" y="2787781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>
                <a:latin typeface="+mn-lt"/>
              </a:defRPr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9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8359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>
                <a:latin typeface="+mj-lt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6"/>
            <a:ext cx="8642350" cy="38163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2771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5"/>
            <a:ext cx="4177159" cy="38163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6"/>
            <a:ext cx="4249166" cy="38163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2897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7"/>
            <a:ext cx="2736999" cy="381634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8"/>
            <a:ext cx="2808312" cy="3816713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6"/>
            <a:ext cx="2664990" cy="3816349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80081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17846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6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1960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18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1" descr="\\K16-nas\kunden\Kunden DE\FTS (Fujitsu)\Sina Laustroer\2011.10.24\ReshapingDataCenter_VORSCHAU.jpg\ReshapingDataCenter_VORSCHAU.jpg"/>
          <p:cNvPicPr>
            <a:picLocks noChangeAspect="1" noChangeArrowheads="1"/>
          </p:cNvPicPr>
          <p:nvPr userDrawn="1"/>
        </p:nvPicPr>
        <p:blipFill>
          <a:blip r:embed="rId6" cstate="print"/>
          <a:srcRect t="6298" r="14286" b="11516"/>
          <a:stretch>
            <a:fillRect/>
          </a:stretch>
        </p:blipFill>
        <p:spPr bwMode="gray">
          <a:xfrm>
            <a:off x="-1" y="0"/>
            <a:ext cx="9144001" cy="5143500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5" y="1304104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04" y="3434404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  <p:grpSp>
        <p:nvGrpSpPr>
          <p:cNvPr id="2" name="Group 3"/>
          <p:cNvGrpSpPr>
            <a:grpSpLocks noChangeAspect="1"/>
          </p:cNvGrpSpPr>
          <p:nvPr userDrawn="1"/>
        </p:nvGrpSpPr>
        <p:grpSpPr bwMode="gray">
          <a:xfrm>
            <a:off x="7308859" y="33471"/>
            <a:ext cx="1647825" cy="690563"/>
            <a:chOff x="4604" y="117"/>
            <a:chExt cx="1038" cy="580"/>
          </a:xfrm>
        </p:grpSpPr>
        <p:sp>
          <p:nvSpPr>
            <p:cNvPr id="76" name="AutoShape 4"/>
            <p:cNvSpPr>
              <a:spLocks noChangeAspect="1" noChangeArrowheads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6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8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9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1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2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3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4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5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6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8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20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21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22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23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24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25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26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7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8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9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30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31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32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33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34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Freihandform 51"/>
          <p:cNvSpPr/>
          <p:nvPr userDrawn="1"/>
        </p:nvSpPr>
        <p:spPr bwMode="gray">
          <a:xfrm>
            <a:off x="0" y="195486"/>
            <a:ext cx="4283968" cy="4955158"/>
          </a:xfrm>
          <a:custGeom>
            <a:avLst/>
            <a:gdLst>
              <a:gd name="connsiteX0" fmla="*/ 0 w 4029075"/>
              <a:gd name="connsiteY0" fmla="*/ 0 h 5534025"/>
              <a:gd name="connsiteX1" fmla="*/ 552450 w 4029075"/>
              <a:gd name="connsiteY1" fmla="*/ 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534025"/>
              <a:gd name="connsiteX1" fmla="*/ 577110 w 4029075"/>
              <a:gd name="connsiteY1" fmla="*/ 6166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472365"/>
              <a:gd name="connsiteX1" fmla="*/ 577110 w 4029075"/>
              <a:gd name="connsiteY1" fmla="*/ 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72365"/>
              <a:gd name="connsiteX1" fmla="*/ 577110 w 4029075"/>
              <a:gd name="connsiteY1" fmla="*/ 6166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590800 w 4029075"/>
              <a:gd name="connsiteY4" fmla="*/ 438655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667047 w 4029075"/>
              <a:gd name="connsiteY4" fmla="*/ 431620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36316"/>
              <a:gd name="connsiteY0" fmla="*/ 0 h 5410705"/>
              <a:gd name="connsiteX1" fmla="*/ 577110 w 4036316"/>
              <a:gd name="connsiteY1" fmla="*/ 0 h 5410705"/>
              <a:gd name="connsiteX2" fmla="*/ 1419225 w 4036316"/>
              <a:gd name="connsiteY2" fmla="*/ 791080 h 5410705"/>
              <a:gd name="connsiteX3" fmla="*/ 2352675 w 4036316"/>
              <a:gd name="connsiteY3" fmla="*/ 791080 h 5410705"/>
              <a:gd name="connsiteX4" fmla="*/ 2667047 w 4036316"/>
              <a:gd name="connsiteY4" fmla="*/ 431620 h 5410705"/>
              <a:gd name="connsiteX5" fmla="*/ 4036316 w 4036316"/>
              <a:gd name="connsiteY5" fmla="*/ 431620 h 5410705"/>
              <a:gd name="connsiteX6" fmla="*/ 4029075 w 4036316"/>
              <a:gd name="connsiteY6" fmla="*/ 5410705 h 5410705"/>
              <a:gd name="connsiteX7" fmla="*/ 0 w 4036316"/>
              <a:gd name="connsiteY7" fmla="*/ 5410705 h 5410705"/>
              <a:gd name="connsiteX8" fmla="*/ 0 w 4036316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251023 w 4287339"/>
              <a:gd name="connsiteY7" fmla="*/ 5410705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54148 w 4287339"/>
              <a:gd name="connsiteY4" fmla="*/ 400847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54148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20950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87347" h="5410705">
                <a:moveTo>
                  <a:pt x="0" y="0"/>
                </a:moveTo>
                <a:lnTo>
                  <a:pt x="792204" y="69"/>
                </a:lnTo>
                <a:lnTo>
                  <a:pt x="1656982" y="801626"/>
                </a:lnTo>
                <a:lnTo>
                  <a:pt x="2665889" y="801626"/>
                </a:lnTo>
                <a:lnTo>
                  <a:pt x="2954148" y="431676"/>
                </a:lnTo>
                <a:lnTo>
                  <a:pt x="4287347" y="431676"/>
                </a:lnTo>
                <a:cubicBezTo>
                  <a:pt x="4284933" y="2091371"/>
                  <a:pt x="4282512" y="3751010"/>
                  <a:pt x="4280098" y="5410705"/>
                </a:cubicBezTo>
                <a:lnTo>
                  <a:pt x="0" y="540254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0" rIns="90000" bIns="108000" numCol="1" anchor="b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tabLst>
                <a:tab pos="3676650" algn="l"/>
              </a:tabLst>
            </a:pPr>
            <a:endParaRPr kumimoji="1" lang="de-DE" altLang="ja-JP" sz="4400" dirty="0">
              <a:solidFill>
                <a:srgbClr val="FF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9388" y="2"/>
            <a:ext cx="4104572" cy="3462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0000" bIns="10800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000" kern="1200" noProof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388" y="3462851"/>
            <a:ext cx="4104572" cy="1680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108000" rIns="7200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774738"/>
      </p:ext>
    </p:extLst>
  </p:cSld>
  <p:clrMapOvr>
    <a:masterClrMapping/>
  </p:clrMapOvr>
  <p:transition spd="slow" advTm="15000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179388" y="1221582"/>
            <a:ext cx="4248150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17" y="1221582"/>
            <a:ext cx="4320605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801781"/>
      </p:ext>
    </p:extLst>
  </p:cSld>
  <p:clrMapOvr>
    <a:masterClrMapping/>
  </p:clrMapOvr>
  <p:transition spd="slow" advTm="15000">
    <p:wip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829" y="762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000000"/>
                </a:solidFill>
              </a:rPr>
              <a:t>Formatvorlage</a:t>
            </a:r>
            <a:r>
              <a:rPr lang="en-GB" sz="2400" dirty="0">
                <a:solidFill>
                  <a:srgbClr val="000000"/>
                </a:solidFill>
              </a:rPr>
              <a:t> des </a:t>
            </a:r>
            <a:r>
              <a:rPr lang="en-GB" sz="2400" dirty="0" err="1">
                <a:solidFill>
                  <a:srgbClr val="000000"/>
                </a:solidFill>
              </a:rPr>
              <a:t>Untertitelmasters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durch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Klicken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825" y="555470"/>
            <a:ext cx="2664000" cy="165623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825" y="2643760"/>
            <a:ext cx="266400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7664185" y="243041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32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829" y="762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000000"/>
                </a:solidFill>
              </a:rPr>
              <a:t>Formatvorlage</a:t>
            </a:r>
            <a:r>
              <a:rPr lang="en-GB" sz="2400" dirty="0">
                <a:solidFill>
                  <a:srgbClr val="000000"/>
                </a:solidFill>
              </a:rPr>
              <a:t> des </a:t>
            </a:r>
            <a:r>
              <a:rPr lang="en-GB" sz="2400" dirty="0" err="1">
                <a:solidFill>
                  <a:srgbClr val="000000"/>
                </a:solidFill>
              </a:rPr>
              <a:t>Untertitelmasters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durch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Klicken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825" y="555470"/>
            <a:ext cx="2664000" cy="165623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825" y="2643760"/>
            <a:ext cx="266400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7664185" y="243041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32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0631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endParaRPr lang="en-GB" noProof="0" dirty="0"/>
          </a:p>
        </p:txBody>
      </p:sp>
      <p:sp>
        <p:nvSpPr>
          <p:cNvPr id="3" name="Footer Placeholder 110"/>
          <p:cNvSpPr>
            <a:spLocks noGrp="1"/>
          </p:cNvSpPr>
          <p:nvPr>
            <p:ph type="ftr" sz="quarter" idx="3"/>
          </p:nvPr>
        </p:nvSpPr>
        <p:spPr bwMode="gray"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Copyright 2017 FUJITSU</a:t>
            </a:r>
          </a:p>
        </p:txBody>
      </p:sp>
    </p:spTree>
    <p:extLst>
      <p:ext uri="{BB962C8B-B14F-4D97-AF65-F5344CB8AC3E}">
        <p14:creationId xmlns:p14="http://schemas.microsoft.com/office/powerpoint/2010/main" val="3871760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74378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endParaRPr lang="en-GB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3"/>
            </p:custDataLst>
          </p:nvPr>
        </p:nvSpPr>
        <p:spPr bwMode="gray">
          <a:xfrm>
            <a:off x="250826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endParaRPr lang="en-US" noProof="0"/>
          </a:p>
        </p:txBody>
      </p:sp>
      <p:sp>
        <p:nvSpPr>
          <p:cNvPr id="4" name="Footer Placeholder 110"/>
          <p:cNvSpPr>
            <a:spLocks noGrp="1"/>
          </p:cNvSpPr>
          <p:nvPr>
            <p:ph type="ftr" sz="quarter" idx="3"/>
          </p:nvPr>
        </p:nvSpPr>
        <p:spPr bwMode="gray"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Copyright 2017 FUJITSU</a:t>
            </a:r>
          </a:p>
        </p:txBody>
      </p:sp>
    </p:spTree>
    <p:extLst>
      <p:ext uri="{BB962C8B-B14F-4D97-AF65-F5344CB8AC3E}">
        <p14:creationId xmlns:p14="http://schemas.microsoft.com/office/powerpoint/2010/main" val="3160061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41" name="Picture 2" descr="Fujitsu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2455511" y="1309687"/>
            <a:ext cx="4202009" cy="21002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29277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6"/>
            <a:ext cx="8642350" cy="3816350"/>
          </a:xfrm>
        </p:spPr>
        <p:txBody>
          <a:bodyPr/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834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6" y="2787781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9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6981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5"/>
            <a:ext cx="4177159" cy="38163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6"/>
            <a:ext cx="4249166" cy="38163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2897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18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829" y="762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000000"/>
                </a:solidFill>
              </a:rPr>
              <a:t>Formatvorlage</a:t>
            </a:r>
            <a:r>
              <a:rPr lang="en-GB" sz="2400" dirty="0">
                <a:solidFill>
                  <a:srgbClr val="000000"/>
                </a:solidFill>
              </a:rPr>
              <a:t> des </a:t>
            </a:r>
            <a:r>
              <a:rPr lang="en-GB" sz="2400" dirty="0" err="1">
                <a:solidFill>
                  <a:srgbClr val="000000"/>
                </a:solidFill>
              </a:rPr>
              <a:t>Untertitelmasters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durch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Klicken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825" y="555470"/>
            <a:ext cx="2664000" cy="165623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825" y="2643760"/>
            <a:ext cx="266400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7664185" y="243041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32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1"/>
            <a:ext cx="9144000" cy="2934891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323850" y="1600102"/>
            <a:ext cx="8496300" cy="7556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323850" y="2787253"/>
            <a:ext cx="8496300" cy="205263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400"/>
            </a:lvl1pPr>
            <a:lvl2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2pPr>
            <a:lvl3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7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/>
          <a:srcRect b="22313"/>
          <a:stretch>
            <a:fillRect/>
          </a:stretch>
        </p:blipFill>
        <p:spPr bwMode="auto">
          <a:xfrm>
            <a:off x="7374732" y="252566"/>
            <a:ext cx="1454944" cy="4237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399658"/>
      </p:ext>
    </p:extLst>
  </p:cSld>
  <p:clrMapOvr>
    <a:masterClrMapping/>
  </p:clrMapOvr>
  <p:transition spd="slow" advTm="15000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389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307" y="1221582"/>
            <a:ext cx="2736306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9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315996"/>
      </p:ext>
    </p:extLst>
  </p:cSld>
  <p:clrMapOvr>
    <a:masterClrMapping/>
  </p:clrMapOvr>
  <p:transition spd="slow" advTm="15000">
    <p:wip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829" y="762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000000"/>
                </a:solidFill>
              </a:rPr>
              <a:t>Formatvorlage</a:t>
            </a:r>
            <a:r>
              <a:rPr lang="en-GB" sz="2400" dirty="0">
                <a:solidFill>
                  <a:srgbClr val="000000"/>
                </a:solidFill>
              </a:rPr>
              <a:t> des </a:t>
            </a:r>
            <a:r>
              <a:rPr lang="en-GB" sz="2400" dirty="0" err="1">
                <a:solidFill>
                  <a:srgbClr val="000000"/>
                </a:solidFill>
              </a:rPr>
              <a:t>Untertitelmasters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durch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Klicken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825" y="555470"/>
            <a:ext cx="2664000" cy="165623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825" y="2643760"/>
            <a:ext cx="266400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7664185" y="243041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32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5"/>
            <a:ext cx="4177159" cy="38163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6"/>
            <a:ext cx="4249166" cy="38163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2897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18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2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30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14" y="1304113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defTabSz="914130">
              <a:spcBef>
                <a:spcPct val="0"/>
              </a:spcBef>
              <a:spcAft>
                <a:spcPct val="0"/>
              </a:spcAft>
              <a:tabLst>
                <a:tab pos="3675546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11" y="3434413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058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9" name="Group 23"/>
          <p:cNvGrpSpPr/>
          <p:nvPr userDrawn="1"/>
        </p:nvGrpSpPr>
        <p:grpSpPr>
          <a:xfrm>
            <a:off x="8010525" y="255957"/>
            <a:ext cx="892176" cy="434975"/>
            <a:chOff x="8010525" y="249238"/>
            <a:chExt cx="892176" cy="434975"/>
          </a:xfrm>
        </p:grpSpPr>
        <p:sp>
          <p:nvSpPr>
            <p:cNvPr id="10" name="Freeform 25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  <p:sp>
          <p:nvSpPr>
            <p:cNvPr id="11" name="Freeform 26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  <p:sp>
          <p:nvSpPr>
            <p:cNvPr id="12" name="Freeform 27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  <p:sp>
          <p:nvSpPr>
            <p:cNvPr id="15" name="Freeform 32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  <p:sp>
          <p:nvSpPr>
            <p:cNvPr id="16" name="Freeform 33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  <p:sp>
          <p:nvSpPr>
            <p:cNvPr id="17" name="Freeform 34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</p:grpSp>
      <p:pic>
        <p:nvPicPr>
          <p:cNvPr id="18" name="Picture 2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0952" y="687683"/>
            <a:ext cx="1362075" cy="226104"/>
          </a:xfrm>
          <a:prstGeom prst="rect">
            <a:avLst/>
          </a:prstGeom>
        </p:spPr>
      </p:pic>
      <p:sp>
        <p:nvSpPr>
          <p:cNvPr id="19" name="Rectangle 8"/>
          <p:cNvSpPr/>
          <p:nvPr userDrawn="1"/>
        </p:nvSpPr>
        <p:spPr bwMode="ltGray">
          <a:xfrm>
            <a:off x="412552" y="398811"/>
            <a:ext cx="2122306" cy="2465149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ctr">
              <a:spcBef>
                <a:spcPct val="0"/>
              </a:spcBef>
              <a:spcAft>
                <a:spcPct val="0"/>
              </a:spcAft>
            </a:pPr>
            <a:endParaRPr kumimoji="1" lang="en-GB" sz="1200" dirty="0">
              <a:solidFill>
                <a:srgbClr val="000000"/>
              </a:solidFill>
              <a:latin typeface="Fujitsu Sans" panose="020B040406020202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834195"/>
      </p:ext>
    </p:extLst>
  </p:cSld>
  <p:clrMapOvr>
    <a:masterClrMapping/>
  </p:clrMapOvr>
  <p:timing>
    <p:tnLst>
      <p:par>
        <p:cTn id="1" dur="indefinite" restart="never" nodeType="tmRoot"/>
      </p:par>
    </p:tnLst>
    <p:bldLst>
      <p:bldP spid="19" grpId="0" animBg="1"/>
      <p:bldP spid="19" grpId="1" animBg="1"/>
      <p:bldP spid="19" grpId="2" animBg="1"/>
      <p:bldP spid="19" grpId="3" animBg="1"/>
    </p:bld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98627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696831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829" y="762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000000"/>
                </a:solidFill>
              </a:rPr>
              <a:t>Formatvorlage</a:t>
            </a:r>
            <a:r>
              <a:rPr lang="en-GB" sz="2400" dirty="0">
                <a:solidFill>
                  <a:srgbClr val="000000"/>
                </a:solidFill>
              </a:rPr>
              <a:t> des </a:t>
            </a:r>
            <a:r>
              <a:rPr lang="en-GB" sz="2400" dirty="0" err="1">
                <a:solidFill>
                  <a:srgbClr val="000000"/>
                </a:solidFill>
              </a:rPr>
              <a:t>Untertitelmasters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durch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Klicken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825" y="555470"/>
            <a:ext cx="2664000" cy="165623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825" y="2643760"/>
            <a:ext cx="266400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7664185" y="243041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32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5"/>
            <a:ext cx="4177159" cy="3816351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6"/>
            <a:ext cx="4249166" cy="381635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2897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7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18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829" y="762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000000"/>
                </a:solidFill>
              </a:rPr>
              <a:t>Formatvorlage</a:t>
            </a:r>
            <a:r>
              <a:rPr lang="en-GB" sz="2400" dirty="0">
                <a:solidFill>
                  <a:srgbClr val="000000"/>
                </a:solidFill>
              </a:rPr>
              <a:t> des </a:t>
            </a:r>
            <a:r>
              <a:rPr lang="en-GB" sz="2400" dirty="0" err="1">
                <a:solidFill>
                  <a:srgbClr val="000000"/>
                </a:solidFill>
              </a:rPr>
              <a:t>Untertitelmasters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durch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Klicken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825" y="555470"/>
            <a:ext cx="2664000" cy="165623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825" y="2643760"/>
            <a:ext cx="266400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7664185" y="243041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32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-762"/>
            <a:ext cx="9144000" cy="5145024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US" sz="4400" dirty="0" err="1">
                <a:solidFill>
                  <a:srgbClr val="FFFFFF"/>
                </a:solidFill>
              </a:rPr>
              <a:t>Titelmasterformat</a:t>
            </a:r>
            <a:r>
              <a:rPr lang="en-US" sz="4400" dirty="0">
                <a:solidFill>
                  <a:srgbClr val="FFFFFF"/>
                </a:solidFill>
              </a:rPr>
              <a:t> </a:t>
            </a:r>
            <a:r>
              <a:rPr lang="en-US" sz="4400" dirty="0" err="1">
                <a:solidFill>
                  <a:srgbClr val="FFFFFF"/>
                </a:solidFill>
              </a:rPr>
              <a:t>durch</a:t>
            </a:r>
            <a:r>
              <a:rPr lang="en-US" sz="4400" dirty="0">
                <a:solidFill>
                  <a:srgbClr val="FFFFFF"/>
                </a:solidFill>
              </a:rPr>
              <a:t> </a:t>
            </a:r>
            <a:r>
              <a:rPr lang="en-US" sz="4400" dirty="0" err="1">
                <a:solidFill>
                  <a:srgbClr val="FFFFFF"/>
                </a:solidFill>
              </a:rPr>
              <a:t>Klicken</a:t>
            </a:r>
            <a:r>
              <a:rPr lang="en-US" sz="4400" dirty="0">
                <a:solidFill>
                  <a:srgbClr val="FFFFFF"/>
                </a:solidFill>
              </a:rPr>
              <a:t> </a:t>
            </a:r>
            <a:r>
              <a:rPr lang="en-US" sz="4400" dirty="0" err="1">
                <a:solidFill>
                  <a:srgbClr val="FFFFFF"/>
                </a:solidFill>
              </a:rPr>
              <a:t>bearbeiten</a:t>
            </a:r>
            <a:endParaRPr lang="en-US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US" sz="2400" dirty="0" err="1">
                <a:solidFill>
                  <a:srgbClr val="000000"/>
                </a:solidFill>
              </a:rPr>
              <a:t>Formatvorlage</a:t>
            </a:r>
            <a:r>
              <a:rPr lang="en-US" sz="2400" dirty="0">
                <a:solidFill>
                  <a:srgbClr val="000000"/>
                </a:solidFill>
              </a:rPr>
              <a:t> des </a:t>
            </a:r>
            <a:r>
              <a:rPr lang="en-US" sz="2400" dirty="0" err="1">
                <a:solidFill>
                  <a:srgbClr val="000000"/>
                </a:solidFill>
              </a:rPr>
              <a:t>Untertitelmasters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durch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Klicken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bearbeiten</a:t>
            </a: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450" y="411450"/>
            <a:ext cx="2664370" cy="13681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450" y="2427730"/>
            <a:ext cx="2744079" cy="72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Fujitsu Sans"/>
                <a:ea typeface="+mn-ea"/>
                <a:cs typeface="Fujitsu San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Master-</a:t>
            </a:r>
            <a:r>
              <a:rPr lang="en-US" noProof="0" dirty="0" err="1"/>
              <a:t>Un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664185" y="243040"/>
            <a:ext cx="1252800" cy="626179"/>
          </a:xfrm>
          <a:prstGeom prst="rect">
            <a:avLst/>
          </a:prstGeom>
          <a:noFill/>
        </p:spPr>
      </p:pic>
      <p:sp>
        <p:nvSpPr>
          <p:cNvPr id="14" name="Title 47"/>
          <p:cNvSpPr txBox="1">
            <a:spLocks/>
          </p:cNvSpPr>
          <p:nvPr userDrawn="1"/>
        </p:nvSpPr>
        <p:spPr bwMode="gray">
          <a:xfrm>
            <a:off x="3707904" y="1553026"/>
            <a:ext cx="5185271" cy="13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sz="3000" dirty="0">
                <a:solidFill>
                  <a:srgbClr val="FFFFFF"/>
                </a:solidFill>
              </a:rPr>
              <a:t>Human Centric Innovation</a:t>
            </a:r>
          </a:p>
          <a:p>
            <a:pPr algn="r">
              <a:lnSpc>
                <a:spcPct val="110000"/>
              </a:lnSpc>
            </a:pPr>
            <a:r>
              <a:rPr sz="3000" dirty="0">
                <a:solidFill>
                  <a:srgbClr val="FFFFFF"/>
                </a:solidFill>
              </a:rPr>
              <a:t>in Action</a:t>
            </a:r>
          </a:p>
        </p:txBody>
      </p:sp>
    </p:spTree>
    <p:extLst>
      <p:ext uri="{BB962C8B-B14F-4D97-AF65-F5344CB8AC3E}">
        <p14:creationId xmlns:p14="http://schemas.microsoft.com/office/powerpoint/2010/main" val="14591705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801554"/>
      </p:ext>
    </p:extLst>
  </p:cSld>
  <p:clrMapOvr>
    <a:masterClrMapping/>
  </p:clrMapOvr>
  <p:transition spd="slow" advTm="15000">
    <p:wip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-762"/>
            <a:ext cx="9144000" cy="5145024"/>
          </a:xfrm>
          <a:prstGeom prst="rect">
            <a:avLst/>
          </a:prstGeom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2000" y="72000"/>
            <a:ext cx="7560000" cy="770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7" name="Picture 2" descr="Fujitsu_Logo_white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664185" y="243040"/>
            <a:ext cx="1252800" cy="4766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4330058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-762"/>
            <a:ext cx="9144000" cy="5145024"/>
          </a:xfrm>
          <a:prstGeom prst="rect">
            <a:avLst/>
          </a:prstGeom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252000" y="72000"/>
            <a:ext cx="7560000" cy="770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bg1"/>
                </a:solidFill>
                <a:latin typeface="Fujitsu Sans"/>
                <a:ea typeface="+mj-ea"/>
                <a:cs typeface="Fujitsu Sans"/>
              </a:defRPr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7" name="Picture 2" descr="Fujitsu_Logo_white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664185" y="243040"/>
            <a:ext cx="1252800" cy="4766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6953224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097661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970974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999512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515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306048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500328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874222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66421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233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179388" y="1275162"/>
            <a:ext cx="8785226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82941"/>
      </p:ext>
    </p:extLst>
  </p:cSld>
  <p:clrMapOvr>
    <a:masterClrMapping/>
  </p:clrMapOvr>
  <p:transition spd="slow" advTm="15000">
    <p:wip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99816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987800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10174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394431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341129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5" y="3003809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4876935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5" y="1058862"/>
            <a:ext cx="8642351" cy="1800928"/>
          </a:xfrm>
          <a:prstGeom prst="round1Rect">
            <a:avLst>
              <a:gd name="adj" fmla="val 2115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421452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27442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41914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031033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74087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275162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179388" y="1275162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855951"/>
      </p:ext>
    </p:extLst>
  </p:cSld>
  <p:clrMapOvr>
    <a:masterClrMapping/>
  </p:clrMapOvr>
  <p:transition spd="slow" advTm="15000">
    <p:wip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525250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396671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937508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250932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635936"/>
            <a:ext cx="2664991" cy="3167840"/>
          </a:xfrm>
          <a:prstGeom prst="round1Rect">
            <a:avLst>
              <a:gd name="adj" fmla="val 14296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1563928"/>
            <a:ext cx="5761335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184449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28"/>
            <a:ext cx="5761335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456961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2027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28"/>
            <a:ext cx="2665414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160142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28"/>
            <a:ext cx="2665412" cy="3239848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4138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1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8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041726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5"/>
            <a:ext cx="8642346" cy="1511896"/>
          </a:xfrm>
          <a:prstGeom prst="round1Rect">
            <a:avLst>
              <a:gd name="adj" fmla="val 25200"/>
            </a:avLst>
          </a:prstGeom>
        </p:spPr>
        <p:txBody>
          <a:bodyPr/>
          <a:lstStyle/>
          <a:p>
            <a:r>
              <a:rPr lang="de-DE" noProof="0" dirty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1"/>
            <a:ext cx="8642346" cy="1511924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68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1408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7" y="1275162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179388" y="1221601"/>
            <a:ext cx="4248596" cy="361829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318744"/>
      </p:ext>
    </p:extLst>
  </p:cSld>
  <p:clrMapOvr>
    <a:masterClrMapping/>
  </p:clrMapOvr>
  <p:transition spd="slow" advTm="15000">
    <p:wip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647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65901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1" name="Picture 2" descr="Fujitsu_Logo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455510" y="1357200"/>
            <a:ext cx="4202009" cy="21002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6691108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54398" y="1131550"/>
            <a:ext cx="8208257" cy="288066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Speaker Nam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810" y="1477635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, Business Unit/Department, (Twitter Handle), Company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252105" y="2284985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 bwMode="gray">
          <a:xfrm>
            <a:off x="252105" y="3077095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253515" y="1923660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 bwMode="gray">
          <a:xfrm>
            <a:off x="253515" y="2715770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251400" y="3869205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6"/>
          </p:nvPr>
        </p:nvSpPr>
        <p:spPr bwMode="gray">
          <a:xfrm>
            <a:off x="251400" y="4661315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7"/>
          </p:nvPr>
        </p:nvSpPr>
        <p:spPr bwMode="gray">
          <a:xfrm>
            <a:off x="252810" y="3507880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252810" y="4299990"/>
            <a:ext cx="8210550" cy="28676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2539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179388" y="1275162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3439" y="1221582"/>
            <a:ext cx="4321175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825627"/>
      </p:ext>
    </p:extLst>
  </p:cSld>
  <p:clrMapOvr>
    <a:masterClrMapping/>
  </p:clrMapOvr>
  <p:transition spd="slow" advTm="15000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92" y="1275162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1221582"/>
            <a:ext cx="5832772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872256"/>
      </p:ext>
    </p:extLst>
  </p:cSld>
  <p:clrMapOvr>
    <a:masterClrMapping/>
  </p:clrMapOvr>
  <p:transition spd="slow" advTm="15000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93" y="1275162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2145" y="1221582"/>
            <a:ext cx="5832475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651200"/>
      </p:ext>
    </p:extLst>
  </p:cSld>
  <p:clrMapOvr>
    <a:masterClrMapping/>
  </p:clrMapOvr>
  <p:transition spd="slow" advTm="15000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275162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031997"/>
      </p:ext>
    </p:extLst>
  </p:cSld>
  <p:clrMapOvr>
    <a:masterClrMapping/>
  </p:clrMapOvr>
  <p:transition spd="slow" advTm="15000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89" y="1275162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4" y="1221582"/>
            <a:ext cx="2736850" cy="361831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615838"/>
      </p:ext>
    </p:extLst>
  </p:cSld>
  <p:clrMapOvr>
    <a:masterClrMapping/>
  </p:clrMapOvr>
  <p:transition spd="slow" advTm="15000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1"/>
            <a:ext cx="9144000" cy="2934891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323850" y="1600200"/>
            <a:ext cx="84963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323850" y="2787253"/>
            <a:ext cx="8496300" cy="2052638"/>
          </a:xfr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400"/>
            </a:lvl1pPr>
            <a:lvl2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Footer Placeholder 19"/>
          <p:cNvSpPr>
            <a:spLocks noGrp="1"/>
          </p:cNvSpPr>
          <p:nvPr userDrawn="1"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7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/>
          <a:srcRect b="22313"/>
          <a:stretch>
            <a:fillRect/>
          </a:stretch>
        </p:blipFill>
        <p:spPr bwMode="auto">
          <a:xfrm>
            <a:off x="7374732" y="252566"/>
            <a:ext cx="1454944" cy="4237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86540236"/>
      </p:ext>
    </p:extLst>
  </p:cSld>
  <p:clrMapOvr>
    <a:masterClrMapping/>
  </p:clrMapOvr>
  <p:transition spd="slow" advTm="15000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179393" y="3111812"/>
            <a:ext cx="8785225" cy="1728081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179393" y="1221583"/>
            <a:ext cx="8785225" cy="1728788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530831"/>
      </p:ext>
    </p:extLst>
  </p:cSld>
  <p:clrMapOvr>
    <a:masterClrMapping/>
  </p:clrMapOvr>
  <p:transition spd="slow" advTm="15000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179393" y="1275160"/>
            <a:ext cx="8785225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179393" y="3057817"/>
            <a:ext cx="8785225" cy="1782074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328324"/>
      </p:ext>
    </p:extLst>
  </p:cSld>
  <p:clrMapOvr>
    <a:masterClrMapping/>
  </p:clrMapOvr>
  <p:transition spd="slow" advTm="15000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19974"/>
      </p:ext>
    </p:extLst>
  </p:cSld>
  <p:clrMapOvr>
    <a:masterClrMapping/>
  </p:clrMapOvr>
  <p:transition spd="slow" advTm="15000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35" name="Picture 2" descr="Fujitsu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3350" y="1316271"/>
            <a:ext cx="5569246" cy="20877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7959309"/>
      </p:ext>
    </p:extLst>
  </p:cSld>
  <p:clrMapOvr>
    <a:masterClrMapping/>
  </p:clrMapOvr>
  <p:transition spd="slow" advTm="15000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7207561"/>
      </p:ext>
    </p:extLst>
  </p:cSld>
  <p:clrMapOvr>
    <a:masterClrMapping/>
  </p:clrMapOvr>
  <p:transition spd="slow" advTm="15000">
    <p:wip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829" y="762"/>
            <a:ext cx="9144000" cy="5143500"/>
          </a:xfrm>
          <a:prstGeom prst="rect">
            <a:avLst/>
          </a:prstGeom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324002" y="1304101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</a:t>
            </a:r>
            <a:r>
              <a:rPr lang="en-GB" sz="4400" dirty="0" err="1">
                <a:solidFill>
                  <a:srgbClr val="FFFFFF"/>
                </a:solidFill>
              </a:rPr>
              <a:t>durch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Klicken</a:t>
            </a:r>
            <a:r>
              <a:rPr lang="en-GB" sz="4400" dirty="0">
                <a:solidFill>
                  <a:srgbClr val="FFFFFF"/>
                </a:solidFill>
              </a:rPr>
              <a:t> </a:t>
            </a:r>
            <a:r>
              <a:rPr lang="en-GB" sz="4400" dirty="0" err="1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323999" y="3434401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en-GB" sz="2400" dirty="0" err="1">
                <a:solidFill>
                  <a:srgbClr val="000000"/>
                </a:solidFill>
              </a:rPr>
              <a:t>Formatvorlage</a:t>
            </a:r>
            <a:r>
              <a:rPr lang="en-GB" sz="2400" dirty="0">
                <a:solidFill>
                  <a:srgbClr val="000000"/>
                </a:solidFill>
              </a:rPr>
              <a:t> des </a:t>
            </a:r>
            <a:r>
              <a:rPr lang="en-GB" sz="2400" dirty="0" err="1">
                <a:solidFill>
                  <a:srgbClr val="000000"/>
                </a:solidFill>
              </a:rPr>
              <a:t>Untertitelmasters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durch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Klicken</a:t>
            </a:r>
            <a:r>
              <a:rPr lang="en-GB" sz="2400" dirty="0">
                <a:solidFill>
                  <a:srgbClr val="000000"/>
                </a:solidFill>
              </a:rPr>
              <a:t> </a:t>
            </a:r>
            <a:r>
              <a:rPr lang="en-GB" sz="2400" dirty="0" err="1">
                <a:solidFill>
                  <a:srgbClr val="000000"/>
                </a:solidFill>
              </a:rPr>
              <a:t>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611825" y="555470"/>
            <a:ext cx="2664000" cy="165623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28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611825" y="2643760"/>
            <a:ext cx="2664000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16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7664185" y="243041"/>
            <a:ext cx="1252800" cy="6261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632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1" descr="\\K16-nas\kunden\Kunden DE\FTS (Fujitsu)\Sina Laustroer\2011.10.24\ReshapingDataCenter_VORSCHAU.jpg\ReshapingDataCenter_VORSCHAU.jpg"/>
          <p:cNvPicPr>
            <a:picLocks noChangeAspect="1" noChangeArrowheads="1"/>
          </p:cNvPicPr>
          <p:nvPr userDrawn="1"/>
        </p:nvPicPr>
        <p:blipFill>
          <a:blip r:embed="rId6" cstate="print"/>
          <a:srcRect t="6298" r="14286" b="11516"/>
          <a:stretch>
            <a:fillRect/>
          </a:stretch>
        </p:blipFill>
        <p:spPr bwMode="gray">
          <a:xfrm>
            <a:off x="-1" y="0"/>
            <a:ext cx="9144001" cy="5143500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5" y="1304104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04" y="3434404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  <p:grpSp>
        <p:nvGrpSpPr>
          <p:cNvPr id="2" name="Group 3"/>
          <p:cNvGrpSpPr>
            <a:grpSpLocks noChangeAspect="1"/>
          </p:cNvGrpSpPr>
          <p:nvPr userDrawn="1"/>
        </p:nvGrpSpPr>
        <p:grpSpPr bwMode="gray">
          <a:xfrm>
            <a:off x="7308859" y="33471"/>
            <a:ext cx="1647825" cy="690563"/>
            <a:chOff x="4604" y="117"/>
            <a:chExt cx="1038" cy="580"/>
          </a:xfrm>
        </p:grpSpPr>
        <p:sp>
          <p:nvSpPr>
            <p:cNvPr id="76" name="AutoShape 4"/>
            <p:cNvSpPr>
              <a:spLocks noChangeAspect="1" noChangeArrowheads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6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8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9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1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2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3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4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5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6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8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20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21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22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23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24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25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26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7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8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9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30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31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32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33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34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52" name="Freihandform 51"/>
          <p:cNvSpPr/>
          <p:nvPr userDrawn="1"/>
        </p:nvSpPr>
        <p:spPr bwMode="gray">
          <a:xfrm>
            <a:off x="0" y="195486"/>
            <a:ext cx="4283968" cy="4955158"/>
          </a:xfrm>
          <a:custGeom>
            <a:avLst/>
            <a:gdLst>
              <a:gd name="connsiteX0" fmla="*/ 0 w 4029075"/>
              <a:gd name="connsiteY0" fmla="*/ 0 h 5534025"/>
              <a:gd name="connsiteX1" fmla="*/ 552450 w 4029075"/>
              <a:gd name="connsiteY1" fmla="*/ 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534025"/>
              <a:gd name="connsiteX1" fmla="*/ 577110 w 4029075"/>
              <a:gd name="connsiteY1" fmla="*/ 61660 h 5534025"/>
              <a:gd name="connsiteX2" fmla="*/ 1419225 w 4029075"/>
              <a:gd name="connsiteY2" fmla="*/ 914400 h 5534025"/>
              <a:gd name="connsiteX3" fmla="*/ 2352675 w 4029075"/>
              <a:gd name="connsiteY3" fmla="*/ 914400 h 5534025"/>
              <a:gd name="connsiteX4" fmla="*/ 2590800 w 4029075"/>
              <a:gd name="connsiteY4" fmla="*/ 561975 h 5534025"/>
              <a:gd name="connsiteX5" fmla="*/ 4029075 w 4029075"/>
              <a:gd name="connsiteY5" fmla="*/ 561975 h 5534025"/>
              <a:gd name="connsiteX6" fmla="*/ 4029075 w 4029075"/>
              <a:gd name="connsiteY6" fmla="*/ 5534025 h 5534025"/>
              <a:gd name="connsiteX7" fmla="*/ 0 w 4029075"/>
              <a:gd name="connsiteY7" fmla="*/ 5534025 h 5534025"/>
              <a:gd name="connsiteX8" fmla="*/ 0 w 4029075"/>
              <a:gd name="connsiteY8" fmla="*/ 0 h 5534025"/>
              <a:gd name="connsiteX0" fmla="*/ 0 w 4029075"/>
              <a:gd name="connsiteY0" fmla="*/ 0 h 5472365"/>
              <a:gd name="connsiteX1" fmla="*/ 577110 w 4029075"/>
              <a:gd name="connsiteY1" fmla="*/ 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72365"/>
              <a:gd name="connsiteX1" fmla="*/ 577110 w 4029075"/>
              <a:gd name="connsiteY1" fmla="*/ 61660 h 5472365"/>
              <a:gd name="connsiteX2" fmla="*/ 1419225 w 4029075"/>
              <a:gd name="connsiteY2" fmla="*/ 852740 h 5472365"/>
              <a:gd name="connsiteX3" fmla="*/ 2352675 w 4029075"/>
              <a:gd name="connsiteY3" fmla="*/ 852740 h 5472365"/>
              <a:gd name="connsiteX4" fmla="*/ 2590800 w 4029075"/>
              <a:gd name="connsiteY4" fmla="*/ 500315 h 5472365"/>
              <a:gd name="connsiteX5" fmla="*/ 4029075 w 4029075"/>
              <a:gd name="connsiteY5" fmla="*/ 500315 h 5472365"/>
              <a:gd name="connsiteX6" fmla="*/ 4029075 w 4029075"/>
              <a:gd name="connsiteY6" fmla="*/ 5472365 h 5472365"/>
              <a:gd name="connsiteX7" fmla="*/ 0 w 4029075"/>
              <a:gd name="connsiteY7" fmla="*/ 5472365 h 5472365"/>
              <a:gd name="connsiteX8" fmla="*/ 0 w 4029075"/>
              <a:gd name="connsiteY8" fmla="*/ 0 h 547236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590800 w 4029075"/>
              <a:gd name="connsiteY4" fmla="*/ 438655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29075"/>
              <a:gd name="connsiteY0" fmla="*/ 0 h 5410705"/>
              <a:gd name="connsiteX1" fmla="*/ 577110 w 4029075"/>
              <a:gd name="connsiteY1" fmla="*/ 0 h 5410705"/>
              <a:gd name="connsiteX2" fmla="*/ 1419225 w 4029075"/>
              <a:gd name="connsiteY2" fmla="*/ 791080 h 5410705"/>
              <a:gd name="connsiteX3" fmla="*/ 2352675 w 4029075"/>
              <a:gd name="connsiteY3" fmla="*/ 791080 h 5410705"/>
              <a:gd name="connsiteX4" fmla="*/ 2667047 w 4029075"/>
              <a:gd name="connsiteY4" fmla="*/ 431620 h 5410705"/>
              <a:gd name="connsiteX5" fmla="*/ 4029075 w 4029075"/>
              <a:gd name="connsiteY5" fmla="*/ 438655 h 5410705"/>
              <a:gd name="connsiteX6" fmla="*/ 4029075 w 4029075"/>
              <a:gd name="connsiteY6" fmla="*/ 5410705 h 5410705"/>
              <a:gd name="connsiteX7" fmla="*/ 0 w 4029075"/>
              <a:gd name="connsiteY7" fmla="*/ 5410705 h 5410705"/>
              <a:gd name="connsiteX8" fmla="*/ 0 w 4029075"/>
              <a:gd name="connsiteY8" fmla="*/ 0 h 5410705"/>
              <a:gd name="connsiteX0" fmla="*/ 0 w 4036316"/>
              <a:gd name="connsiteY0" fmla="*/ 0 h 5410705"/>
              <a:gd name="connsiteX1" fmla="*/ 577110 w 4036316"/>
              <a:gd name="connsiteY1" fmla="*/ 0 h 5410705"/>
              <a:gd name="connsiteX2" fmla="*/ 1419225 w 4036316"/>
              <a:gd name="connsiteY2" fmla="*/ 791080 h 5410705"/>
              <a:gd name="connsiteX3" fmla="*/ 2352675 w 4036316"/>
              <a:gd name="connsiteY3" fmla="*/ 791080 h 5410705"/>
              <a:gd name="connsiteX4" fmla="*/ 2667047 w 4036316"/>
              <a:gd name="connsiteY4" fmla="*/ 431620 h 5410705"/>
              <a:gd name="connsiteX5" fmla="*/ 4036316 w 4036316"/>
              <a:gd name="connsiteY5" fmla="*/ 431620 h 5410705"/>
              <a:gd name="connsiteX6" fmla="*/ 4029075 w 4036316"/>
              <a:gd name="connsiteY6" fmla="*/ 5410705 h 5410705"/>
              <a:gd name="connsiteX7" fmla="*/ 0 w 4036316"/>
              <a:gd name="connsiteY7" fmla="*/ 5410705 h 5410705"/>
              <a:gd name="connsiteX8" fmla="*/ 0 w 4036316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251023 w 4287339"/>
              <a:gd name="connsiteY7" fmla="*/ 5410705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18070 w 4287339"/>
              <a:gd name="connsiteY4" fmla="*/ 431620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39"/>
              <a:gd name="connsiteY0" fmla="*/ 0 h 5410705"/>
              <a:gd name="connsiteX1" fmla="*/ 828133 w 4287339"/>
              <a:gd name="connsiteY1" fmla="*/ 0 h 5410705"/>
              <a:gd name="connsiteX2" fmla="*/ 1670248 w 4287339"/>
              <a:gd name="connsiteY2" fmla="*/ 791080 h 5410705"/>
              <a:gd name="connsiteX3" fmla="*/ 2603698 w 4287339"/>
              <a:gd name="connsiteY3" fmla="*/ 791080 h 5410705"/>
              <a:gd name="connsiteX4" fmla="*/ 2954148 w 4287339"/>
              <a:gd name="connsiteY4" fmla="*/ 400847 h 5410705"/>
              <a:gd name="connsiteX5" fmla="*/ 4287339 w 4287339"/>
              <a:gd name="connsiteY5" fmla="*/ 431620 h 5410705"/>
              <a:gd name="connsiteX6" fmla="*/ 4280098 w 4287339"/>
              <a:gd name="connsiteY6" fmla="*/ 5410705 h 5410705"/>
              <a:gd name="connsiteX7" fmla="*/ 0 w 4287339"/>
              <a:gd name="connsiteY7" fmla="*/ 5402549 h 5410705"/>
              <a:gd name="connsiteX8" fmla="*/ 0 w 4287339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54148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00847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00847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03698 w 4287347"/>
              <a:gd name="connsiteY3" fmla="*/ 791080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18116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70248 w 4287347"/>
              <a:gd name="connsiteY2" fmla="*/ 791080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828133 w 4287347"/>
              <a:gd name="connsiteY1" fmla="*/ 0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93014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20950 w 4287347"/>
              <a:gd name="connsiteY2" fmla="*/ 770797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  <a:gd name="connsiteX0" fmla="*/ 0 w 4287347"/>
              <a:gd name="connsiteY0" fmla="*/ 0 h 5410705"/>
              <a:gd name="connsiteX1" fmla="*/ 792204 w 4287347"/>
              <a:gd name="connsiteY1" fmla="*/ 69 h 5410705"/>
              <a:gd name="connsiteX2" fmla="*/ 1656982 w 4287347"/>
              <a:gd name="connsiteY2" fmla="*/ 801626 h 5410705"/>
              <a:gd name="connsiteX3" fmla="*/ 2665889 w 4287347"/>
              <a:gd name="connsiteY3" fmla="*/ 801626 h 5410705"/>
              <a:gd name="connsiteX4" fmla="*/ 2954148 w 4287347"/>
              <a:gd name="connsiteY4" fmla="*/ 431676 h 5410705"/>
              <a:gd name="connsiteX5" fmla="*/ 4287347 w 4287347"/>
              <a:gd name="connsiteY5" fmla="*/ 431676 h 5410705"/>
              <a:gd name="connsiteX6" fmla="*/ 4280098 w 4287347"/>
              <a:gd name="connsiteY6" fmla="*/ 5410705 h 5410705"/>
              <a:gd name="connsiteX7" fmla="*/ 0 w 4287347"/>
              <a:gd name="connsiteY7" fmla="*/ 5402549 h 5410705"/>
              <a:gd name="connsiteX8" fmla="*/ 0 w 4287347"/>
              <a:gd name="connsiteY8" fmla="*/ 0 h 5410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87347" h="5410705">
                <a:moveTo>
                  <a:pt x="0" y="0"/>
                </a:moveTo>
                <a:lnTo>
                  <a:pt x="792204" y="69"/>
                </a:lnTo>
                <a:lnTo>
                  <a:pt x="1656982" y="801626"/>
                </a:lnTo>
                <a:lnTo>
                  <a:pt x="2665889" y="801626"/>
                </a:lnTo>
                <a:lnTo>
                  <a:pt x="2954148" y="431676"/>
                </a:lnTo>
                <a:lnTo>
                  <a:pt x="4287347" y="431676"/>
                </a:lnTo>
                <a:cubicBezTo>
                  <a:pt x="4284933" y="2091371"/>
                  <a:pt x="4282512" y="3751010"/>
                  <a:pt x="4280098" y="5410705"/>
                </a:cubicBezTo>
                <a:lnTo>
                  <a:pt x="0" y="540254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0000" tIns="0" rIns="90000" bIns="108000" numCol="1" anchor="b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tabLst>
                <a:tab pos="3676650" algn="l"/>
              </a:tabLst>
            </a:pPr>
            <a:endParaRPr kumimoji="1" lang="de-DE" altLang="ja-JP" sz="4400" dirty="0">
              <a:solidFill>
                <a:srgbClr val="FF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79388" y="2"/>
            <a:ext cx="4104572" cy="3462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0000" bIns="10800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000" kern="1200" noProof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179388" y="3462851"/>
            <a:ext cx="4104572" cy="1680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108000" rIns="7200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774738"/>
      </p:ext>
    </p:extLst>
  </p:cSld>
  <p:clrMapOvr>
    <a:masterClrMapping/>
  </p:clrMapOvr>
  <p:transition spd="slow" advTm="15000"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itleRed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1"/>
            <a:ext cx="9144000" cy="3639741"/>
          </a:xfrm>
          <a:prstGeom prst="rect">
            <a:avLst/>
          </a:prstGeom>
          <a:noFill/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5" y="1304104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>
                <a:solidFill>
                  <a:srgbClr val="FFFFFF"/>
                </a:solidFill>
              </a:rPr>
              <a:t>Titelmasterformat durch Klicken 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04" y="3434404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dirty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323850" y="1329929"/>
            <a:ext cx="8496300" cy="17278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44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3436144"/>
            <a:ext cx="8496300" cy="135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</a:p>
        </p:txBody>
      </p:sp>
      <p:sp>
        <p:nvSpPr>
          <p:cNvPr id="46" name="Rechteck 45"/>
          <p:cNvSpPr/>
          <p:nvPr userDrawn="1"/>
        </p:nvSpPr>
        <p:spPr bwMode="gray">
          <a:xfrm>
            <a:off x="4355976" y="5002020"/>
            <a:ext cx="360040" cy="141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  <p:grpSp>
        <p:nvGrpSpPr>
          <p:cNvPr id="2" name="Group 3"/>
          <p:cNvGrpSpPr>
            <a:grpSpLocks noChangeAspect="1"/>
          </p:cNvGrpSpPr>
          <p:nvPr userDrawn="1"/>
        </p:nvGrpSpPr>
        <p:grpSpPr bwMode="gray">
          <a:xfrm>
            <a:off x="7308859" y="139305"/>
            <a:ext cx="1647825" cy="690563"/>
            <a:chOff x="4604" y="117"/>
            <a:chExt cx="1038" cy="580"/>
          </a:xfrm>
        </p:grpSpPr>
        <p:sp>
          <p:nvSpPr>
            <p:cNvPr id="76" name="AutoShape 4"/>
            <p:cNvSpPr>
              <a:spLocks noChangeAspect="1" noChangeArrowheads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6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8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9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1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2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3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4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5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6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7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8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9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20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21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22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23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24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25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26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27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28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29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30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31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32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33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34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42" name="Rectangle 41"/>
          <p:cNvSpPr/>
          <p:nvPr userDrawn="1"/>
        </p:nvSpPr>
        <p:spPr bwMode="gray">
          <a:xfrm>
            <a:off x="0" y="4836323"/>
            <a:ext cx="9144000" cy="15001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buClr>
                <a:srgbClr val="A30B1A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901895"/>
      </p:ext>
    </p:extLst>
  </p:cSld>
  <p:clrMapOvr>
    <a:masterClrMapping/>
  </p:clrMapOvr>
  <p:transition spd="slow" advTm="15000">
    <p:wip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1"/>
            <a:ext cx="9144000" cy="2934891"/>
          </a:xfrm>
          <a:prstGeom prst="rect">
            <a:avLst/>
          </a:prstGeom>
          <a:noFill/>
        </p:spPr>
      </p:pic>
      <p:grpSp>
        <p:nvGrpSpPr>
          <p:cNvPr id="2" name="Group 13"/>
          <p:cNvGrpSpPr>
            <a:grpSpLocks noChangeAspect="1"/>
          </p:cNvGrpSpPr>
          <p:nvPr/>
        </p:nvGrpSpPr>
        <p:grpSpPr bwMode="gray">
          <a:xfrm>
            <a:off x="7308859" y="139305"/>
            <a:ext cx="1647825" cy="690563"/>
            <a:chOff x="4604" y="117"/>
            <a:chExt cx="1038" cy="580"/>
          </a:xfrm>
        </p:grpSpPr>
        <p:sp>
          <p:nvSpPr>
            <p:cNvPr id="23" name="AutoShape 14"/>
            <p:cNvSpPr>
              <a:spLocks noChangeAspect="1" noChangeArrowheads="1" noTextEdit="1"/>
            </p:cNvSpPr>
            <p:nvPr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9"/>
            <p:cNvSpPr>
              <a:spLocks/>
            </p:cNvSpPr>
            <p:nvPr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20"/>
            <p:cNvSpPr>
              <a:spLocks/>
            </p:cNvSpPr>
            <p:nvPr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21"/>
            <p:cNvSpPr>
              <a:spLocks/>
            </p:cNvSpPr>
            <p:nvPr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22"/>
            <p:cNvSpPr>
              <a:spLocks/>
            </p:cNvSpPr>
            <p:nvPr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323850" y="1600102"/>
            <a:ext cx="8496300" cy="7556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323850" y="2787253"/>
            <a:ext cx="8496300" cy="2052638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400"/>
            </a:lvl1pPr>
            <a:lvl2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2pPr>
            <a:lvl3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9875" indent="-269875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/>
          </a:p>
        </p:txBody>
      </p:sp>
      <p:sp>
        <p:nvSpPr>
          <p:cNvPr id="1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861729338"/>
      </p:ext>
    </p:extLst>
  </p:cSld>
  <p:clrMapOvr>
    <a:masterClrMapping/>
  </p:clrMapOvr>
  <p:transition spd="slow" advTm="15000">
    <p:wip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" descr="F_Tool_Middle_Cover"/>
          <p:cNvGrpSpPr>
            <a:grpSpLocks/>
          </p:cNvGrpSpPr>
          <p:nvPr userDrawn="1"/>
        </p:nvGrpSpPr>
        <p:grpSpPr bwMode="gray">
          <a:xfrm>
            <a:off x="0" y="1"/>
            <a:ext cx="9144000" cy="2934891"/>
            <a:chOff x="0" y="0"/>
            <a:chExt cx="5760" cy="2465"/>
          </a:xfrm>
        </p:grpSpPr>
        <p:pic>
          <p:nvPicPr>
            <p:cNvPr id="21" name="Picture 12" descr="MiddleGray_L150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0" y="0"/>
              <a:ext cx="5760" cy="2465"/>
            </a:xfrm>
            <a:prstGeom prst="rect">
              <a:avLst/>
            </a:prstGeom>
            <a:noFill/>
          </p:spPr>
        </p:pic>
        <p:grpSp>
          <p:nvGrpSpPr>
            <p:cNvPr id="3" name="Group 13"/>
            <p:cNvGrpSpPr>
              <a:grpSpLocks noChangeAspect="1"/>
            </p:cNvGrpSpPr>
            <p:nvPr/>
          </p:nvGrpSpPr>
          <p:grpSpPr bwMode="gray">
            <a:xfrm>
              <a:off x="4604" y="117"/>
              <a:ext cx="1038" cy="580"/>
              <a:chOff x="4604" y="117"/>
              <a:chExt cx="1038" cy="580"/>
            </a:xfrm>
          </p:grpSpPr>
          <p:sp>
            <p:nvSpPr>
              <p:cNvPr id="23" name="AutoShape 14"/>
              <p:cNvSpPr>
                <a:spLocks noChangeAspect="1" noChangeArrowheads="1" noTextEdit="1"/>
              </p:cNvSpPr>
              <p:nvPr/>
            </p:nvSpPr>
            <p:spPr bwMode="gray">
              <a:xfrm>
                <a:off x="4604" y="117"/>
                <a:ext cx="1038" cy="5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15"/>
              <p:cNvSpPr>
                <a:spLocks/>
              </p:cNvSpPr>
              <p:nvPr/>
            </p:nvSpPr>
            <p:spPr bwMode="gray">
              <a:xfrm>
                <a:off x="5115" y="216"/>
                <a:ext cx="132" cy="102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6"/>
              <p:cNvSpPr>
                <a:spLocks/>
              </p:cNvSpPr>
              <p:nvPr/>
            </p:nvSpPr>
            <p:spPr bwMode="gray">
              <a:xfrm>
                <a:off x="4899" y="327"/>
                <a:ext cx="91" cy="1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7"/>
              <p:cNvSpPr>
                <a:spLocks/>
              </p:cNvSpPr>
              <p:nvPr/>
            </p:nvSpPr>
            <p:spPr bwMode="gray">
              <a:xfrm>
                <a:off x="5114" y="327"/>
                <a:ext cx="60" cy="207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18"/>
              <p:cNvSpPr>
                <a:spLocks/>
              </p:cNvSpPr>
              <p:nvPr/>
            </p:nvSpPr>
            <p:spPr bwMode="gray">
              <a:xfrm>
                <a:off x="5180" y="327"/>
                <a:ext cx="47" cy="1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19"/>
              <p:cNvSpPr>
                <a:spLocks/>
              </p:cNvSpPr>
              <p:nvPr/>
            </p:nvSpPr>
            <p:spPr bwMode="gray">
              <a:xfrm>
                <a:off x="5227" y="327"/>
                <a:ext cx="111" cy="148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0"/>
              <p:cNvSpPr>
                <a:spLocks/>
              </p:cNvSpPr>
              <p:nvPr/>
            </p:nvSpPr>
            <p:spPr bwMode="gray">
              <a:xfrm>
                <a:off x="5429" y="327"/>
                <a:ext cx="124" cy="151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1"/>
              <p:cNvSpPr>
                <a:spLocks/>
              </p:cNvSpPr>
              <p:nvPr/>
            </p:nvSpPr>
            <p:spPr bwMode="gray">
              <a:xfrm>
                <a:off x="4994" y="327"/>
                <a:ext cx="125" cy="151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22"/>
              <p:cNvSpPr>
                <a:spLocks/>
              </p:cNvSpPr>
              <p:nvPr/>
            </p:nvSpPr>
            <p:spPr bwMode="gray">
              <a:xfrm>
                <a:off x="5333" y="324"/>
                <a:ext cx="95" cy="154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323850" y="1600200"/>
            <a:ext cx="84963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323850" y="2787253"/>
            <a:ext cx="8496300" cy="2052638"/>
          </a:xfr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sz="2400"/>
            </a:lvl1pPr>
            <a:lvl2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88" indent="-357188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en-US" noProof="0" smtClean="0"/>
              <a:t>Click to edit Master text styles</a:t>
            </a:r>
            <a:endParaRPr lang="en-US" noProof="0"/>
          </a:p>
        </p:txBody>
      </p:sp>
      <p:sp>
        <p:nvSpPr>
          <p:cNvPr id="1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184728980"/>
      </p:ext>
    </p:extLst>
  </p:cSld>
  <p:clrMapOvr>
    <a:masterClrMapping/>
  </p:clrMapOvr>
  <p:transition spd="slow" advTm="15000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179391" y="627464"/>
            <a:ext cx="8785225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802070"/>
      </p:ext>
    </p:extLst>
  </p:cSld>
  <p:clrMapOvr>
    <a:masterClrMapping/>
  </p:clrMapOvr>
  <p:transition spd="slow" advTm="15000">
    <p:wip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179391" y="627464"/>
            <a:ext cx="8785225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021048733"/>
      </p:ext>
    </p:extLst>
  </p:cSld>
  <p:clrMapOvr>
    <a:masterClrMapping/>
  </p:clrMapOvr>
  <p:transition spd="slow" advTm="15000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179388" y="627464"/>
            <a:ext cx="4248596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17" y="627464"/>
            <a:ext cx="4320605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7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545506223"/>
      </p:ext>
    </p:extLst>
  </p:cSld>
  <p:clrMapOvr>
    <a:masterClrMapping/>
  </p:clrMapOvr>
  <p:transition spd="slow" advTm="15000"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627464"/>
            <a:ext cx="2808436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4"/>
            <a:ext cx="2808436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317" y="627465"/>
            <a:ext cx="2736305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667692090"/>
      </p:ext>
    </p:extLst>
  </p:cSld>
  <p:clrMapOvr>
    <a:masterClrMapping/>
  </p:clrMapOvr>
  <p:transition spd="slow" advTm="15000">
    <p:wip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5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924661158"/>
      </p:ext>
    </p:extLst>
  </p:cSld>
  <p:clrMapOvr>
    <a:masterClrMapping/>
  </p:clrMapOvr>
  <p:transition spd="slow" advTm="15000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179388" y="681542"/>
            <a:ext cx="8785226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144502606"/>
      </p:ext>
    </p:extLst>
  </p:cSld>
  <p:clrMapOvr>
    <a:masterClrMapping/>
  </p:clrMapOvr>
  <p:transition spd="slow" advTm="15000">
    <p:wip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2"/>
            <a:ext cx="4248598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179388" y="681542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24280627"/>
      </p:ext>
    </p:extLst>
  </p:cSld>
  <p:clrMapOvr>
    <a:masterClrMapping/>
  </p:clrMapOvr>
  <p:transition spd="slow" advTm="15000">
    <p:wip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681037"/>
            <a:ext cx="4248596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179388" y="627464"/>
            <a:ext cx="4248596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532676713"/>
      </p:ext>
    </p:extLst>
  </p:cSld>
  <p:clrMapOvr>
    <a:masterClrMapping/>
  </p:clrMapOvr>
  <p:transition spd="slow" advTm="15000">
    <p:wip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179388" y="681037"/>
            <a:ext cx="4248596" cy="4158854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17" y="627464"/>
            <a:ext cx="4320605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318585935"/>
      </p:ext>
    </p:extLst>
  </p:cSld>
  <p:clrMapOvr>
    <a:masterClrMapping/>
  </p:clrMapOvr>
  <p:transition spd="slow" advTm="15000">
    <p:wip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92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179388" y="627464"/>
            <a:ext cx="5832772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949440222"/>
      </p:ext>
    </p:extLst>
  </p:cSld>
  <p:clrMapOvr>
    <a:masterClrMapping/>
  </p:clrMapOvr>
  <p:transition spd="slow" advTm="15000">
    <p:wip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93" y="681037"/>
            <a:ext cx="2736429" cy="4158854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5" y="627464"/>
            <a:ext cx="5832773" cy="42124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265311915"/>
      </p:ext>
    </p:extLst>
  </p:cSld>
  <p:clrMapOvr>
    <a:masterClrMapping/>
  </p:clrMapOvr>
  <p:transition spd="slow" advTm="15000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179388" y="627464"/>
            <a:ext cx="4248596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17" y="627464"/>
            <a:ext cx="4320605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7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902010"/>
      </p:ext>
    </p:extLst>
  </p:cSld>
  <p:clrMapOvr>
    <a:masterClrMapping/>
  </p:clrMapOvr>
  <p:transition spd="slow" advTm="15000">
    <p:wip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681042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627482"/>
            <a:ext cx="2736850" cy="421241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4120131898"/>
      </p:ext>
    </p:extLst>
  </p:cSld>
  <p:clrMapOvr>
    <a:masterClrMapping/>
  </p:clrMapOvr>
  <p:transition spd="slow" advTm="15000">
    <p:wip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89" y="681042"/>
            <a:ext cx="5832474" cy="415885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4" y="627482"/>
            <a:ext cx="2736850" cy="421241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1363349892"/>
      </p:ext>
    </p:extLst>
  </p:cSld>
  <p:clrMapOvr>
    <a:masterClrMapping/>
  </p:clrMapOvr>
  <p:transition spd="slow" advTm="15000">
    <p:wip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179393" y="2841782"/>
            <a:ext cx="8785225" cy="1998111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391" y="627462"/>
            <a:ext cx="8785225" cy="205230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4282696287"/>
      </p:ext>
    </p:extLst>
  </p:cSld>
  <p:clrMapOvr>
    <a:masterClrMapping/>
  </p:clrMapOvr>
  <p:transition spd="slow" advTm="15000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179393" y="681039"/>
            <a:ext cx="8785225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393" y="2787780"/>
            <a:ext cx="8785225" cy="205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981979918"/>
      </p:ext>
    </p:extLst>
  </p:cSld>
  <p:clrMapOvr>
    <a:masterClrMapping/>
  </p:clrMapOvr>
  <p:transition spd="slow" advTm="15000">
    <p:wip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179393" y="1221601"/>
            <a:ext cx="8785225" cy="361829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97004623"/>
      </p:ext>
    </p:extLst>
  </p:cSld>
  <p:clrMapOvr>
    <a:masterClrMapping/>
  </p:clrMapOvr>
  <p:transition spd="slow" advTm="15000">
    <p:wip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179388" y="1221582"/>
            <a:ext cx="4248150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17" y="1221582"/>
            <a:ext cx="4320605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727984426"/>
      </p:ext>
    </p:extLst>
  </p:cSld>
  <p:clrMapOvr>
    <a:masterClrMapping/>
  </p:clrMapOvr>
  <p:transition spd="slow" advTm="15000">
    <p:wip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389" y="1221582"/>
            <a:ext cx="2808436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307" y="1221582"/>
            <a:ext cx="2736306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9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023753900"/>
      </p:ext>
    </p:extLst>
  </p:cSld>
  <p:clrMapOvr>
    <a:masterClrMapping/>
  </p:clrMapOvr>
  <p:transition spd="slow" advTm="15000">
    <p:wip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1392373590"/>
      </p:ext>
    </p:extLst>
  </p:cSld>
  <p:clrMapOvr>
    <a:masterClrMapping/>
  </p:clrMapOvr>
  <p:transition spd="slow" advTm="15000">
    <p:wip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179388" y="1275162"/>
            <a:ext cx="8785226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7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370518738"/>
      </p:ext>
    </p:extLst>
  </p:cSld>
  <p:clrMapOvr>
    <a:masterClrMapping/>
  </p:clrMapOvr>
  <p:transition spd="slow" advTm="15000">
    <p:wip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275162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179388" y="1275162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endParaRPr lang="en-US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850742175"/>
      </p:ext>
    </p:extLst>
  </p:cSld>
  <p:clrMapOvr>
    <a:masterClrMapping/>
  </p:clrMapOvr>
  <p:transition spd="slow" advTm="15000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627464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64"/>
            <a:ext cx="2808436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317" y="627465"/>
            <a:ext cx="2736305" cy="4212431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303124"/>
      </p:ext>
    </p:extLst>
  </p:cSld>
  <p:clrMapOvr>
    <a:masterClrMapping/>
  </p:clrMapOvr>
  <p:transition spd="slow" advTm="15000">
    <p:wip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7" y="1275162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179388" y="1221601"/>
            <a:ext cx="4248596" cy="361829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499881415"/>
      </p:ext>
    </p:extLst>
  </p:cSld>
  <p:clrMapOvr>
    <a:masterClrMapping/>
  </p:clrMapOvr>
  <p:transition spd="slow" advTm="15000">
    <p:wip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179388" y="1275162"/>
            <a:ext cx="4248596" cy="3564731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3439" y="1221582"/>
            <a:ext cx="4321175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550702511"/>
      </p:ext>
    </p:extLst>
  </p:cSld>
  <p:clrMapOvr>
    <a:masterClrMapping/>
  </p:clrMapOvr>
  <p:transition spd="slow" advTm="15000">
    <p:wip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92" y="1275162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1221582"/>
            <a:ext cx="5832772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4236711746"/>
      </p:ext>
    </p:extLst>
  </p:cSld>
  <p:clrMapOvr>
    <a:masterClrMapping/>
  </p:clrMapOvr>
  <p:transition spd="slow" advTm="15000">
    <p:wip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93" y="1275162"/>
            <a:ext cx="2736429" cy="3564731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2145" y="1221582"/>
            <a:ext cx="5832475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458909852"/>
      </p:ext>
    </p:extLst>
  </p:cSld>
  <p:clrMapOvr>
    <a:masterClrMapping/>
  </p:clrMapOvr>
  <p:transition spd="slow" advTm="15000">
    <p:wip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275162"/>
            <a:ext cx="5832474" cy="3564731"/>
          </a:xfrm>
          <a:prstGeom prst="round1Rect">
            <a:avLst>
              <a:gd name="adj" fmla="val 8016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1221582"/>
            <a:ext cx="2736850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1695545387"/>
      </p:ext>
    </p:extLst>
  </p:cSld>
  <p:clrMapOvr>
    <a:masterClrMapping/>
  </p:clrMapOvr>
  <p:transition spd="slow" advTm="15000">
    <p:wip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89" y="1275162"/>
            <a:ext cx="5832474" cy="3564731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4" y="1221582"/>
            <a:ext cx="2736850" cy="361831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1665107672"/>
      </p:ext>
    </p:extLst>
  </p:cSld>
  <p:clrMapOvr>
    <a:masterClrMapping/>
  </p:clrMapOvr>
  <p:transition spd="slow" advTm="15000">
    <p:wip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179393" y="3111812"/>
            <a:ext cx="8785225" cy="1728081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179393" y="1221583"/>
            <a:ext cx="8785225" cy="172878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3576316984"/>
      </p:ext>
    </p:extLst>
  </p:cSld>
  <p:clrMapOvr>
    <a:masterClrMapping/>
  </p:clrMapOvr>
  <p:transition spd="slow" advTm="15000">
    <p:wip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179393" y="1275160"/>
            <a:ext cx="8785225" cy="1674632"/>
          </a:xfrm>
          <a:prstGeom prst="round1Rect">
            <a:avLst>
              <a:gd name="adj" fmla="val 17063"/>
            </a:avLst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 sz="2400"/>
            </a:lvl1pPr>
          </a:lstStyle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179393" y="3057817"/>
            <a:ext cx="8785225" cy="1782074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391" y="627534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 noProof="0" smtClean="0"/>
              <a:t>Subheadline</a:t>
            </a:r>
            <a:endParaRPr lang="en-US" noProof="0"/>
          </a:p>
        </p:txBody>
      </p:sp>
      <p:sp>
        <p:nvSpPr>
          <p:cNvPr id="8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17958454"/>
      </p:ext>
    </p:extLst>
  </p:cSld>
  <p:clrMapOvr>
    <a:masterClrMapping/>
  </p:clrMapOvr>
  <p:transition spd="slow" advTm="15000">
    <p:wip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4232863594"/>
      </p:ext>
    </p:extLst>
  </p:cSld>
  <p:clrMapOvr>
    <a:masterClrMapping/>
  </p:clrMapOvr>
  <p:transition spd="slow" advTm="15000">
    <p:wip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AutoShape 7"/>
          <p:cNvSpPr>
            <a:spLocks noChangeAspect="1" noChangeArrowheads="1" noTextEdit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Group 71"/>
          <p:cNvGrpSpPr/>
          <p:nvPr userDrawn="1"/>
        </p:nvGrpSpPr>
        <p:grpSpPr bwMode="gray">
          <a:xfrm>
            <a:off x="1931993" y="1360889"/>
            <a:ext cx="5280025" cy="2005013"/>
            <a:chOff x="1931988" y="1814513"/>
            <a:chExt cx="5280025" cy="2673350"/>
          </a:xfrm>
        </p:grpSpPr>
        <p:sp>
          <p:nvSpPr>
            <p:cNvPr id="73" name="Freeform 8"/>
            <p:cNvSpPr>
              <a:spLocks/>
            </p:cNvSpPr>
            <p:nvPr/>
          </p:nvSpPr>
          <p:spPr bwMode="gray">
            <a:xfrm>
              <a:off x="1931988" y="4124325"/>
              <a:ext cx="153988" cy="252413"/>
            </a:xfrm>
            <a:custGeom>
              <a:avLst/>
              <a:gdLst/>
              <a:ahLst/>
              <a:cxnLst>
                <a:cxn ang="0">
                  <a:pos x="0" y="764"/>
                </a:cxn>
                <a:cxn ang="0">
                  <a:pos x="0" y="672"/>
                </a:cxn>
                <a:cxn ang="0">
                  <a:pos x="186" y="715"/>
                </a:cxn>
                <a:cxn ang="0">
                  <a:pos x="371" y="593"/>
                </a:cxn>
                <a:cxn ang="0">
                  <a:pos x="339" y="515"/>
                </a:cxn>
                <a:cxn ang="0">
                  <a:pos x="284" y="472"/>
                </a:cxn>
                <a:cxn ang="0">
                  <a:pos x="212" y="436"/>
                </a:cxn>
                <a:cxn ang="0">
                  <a:pos x="65" y="337"/>
                </a:cxn>
                <a:cxn ang="0">
                  <a:pos x="13" y="199"/>
                </a:cxn>
                <a:cxn ang="0">
                  <a:pos x="94" y="43"/>
                </a:cxn>
                <a:cxn ang="0">
                  <a:pos x="269" y="0"/>
                </a:cxn>
                <a:cxn ang="0">
                  <a:pos x="430" y="26"/>
                </a:cxn>
                <a:cxn ang="0">
                  <a:pos x="430" y="111"/>
                </a:cxn>
                <a:cxn ang="0">
                  <a:pos x="274" y="78"/>
                </a:cxn>
                <a:cxn ang="0">
                  <a:pos x="169" y="103"/>
                </a:cxn>
                <a:cxn ang="0">
                  <a:pos x="126" y="186"/>
                </a:cxn>
                <a:cxn ang="0">
                  <a:pos x="156" y="264"/>
                </a:cxn>
                <a:cxn ang="0">
                  <a:pos x="286" y="345"/>
                </a:cxn>
                <a:cxn ang="0">
                  <a:pos x="391" y="406"/>
                </a:cxn>
                <a:cxn ang="0">
                  <a:pos x="464" y="486"/>
                </a:cxn>
                <a:cxn ang="0">
                  <a:pos x="484" y="581"/>
                </a:cxn>
                <a:cxn ang="0">
                  <a:pos x="193" y="795"/>
                </a:cxn>
                <a:cxn ang="0">
                  <a:pos x="0" y="764"/>
                </a:cxn>
              </a:cxnLst>
              <a:rect l="0" t="0" r="r" b="b"/>
              <a:pathLst>
                <a:path w="484" h="795">
                  <a:moveTo>
                    <a:pt x="0" y="764"/>
                  </a:moveTo>
                  <a:cubicBezTo>
                    <a:pt x="0" y="672"/>
                    <a:pt x="0" y="672"/>
                    <a:pt x="0" y="672"/>
                  </a:cubicBezTo>
                  <a:cubicBezTo>
                    <a:pt x="50" y="700"/>
                    <a:pt x="113" y="715"/>
                    <a:pt x="186" y="715"/>
                  </a:cubicBezTo>
                  <a:cubicBezTo>
                    <a:pt x="309" y="715"/>
                    <a:pt x="371" y="674"/>
                    <a:pt x="371" y="593"/>
                  </a:cubicBezTo>
                  <a:cubicBezTo>
                    <a:pt x="371" y="562"/>
                    <a:pt x="361" y="536"/>
                    <a:pt x="339" y="515"/>
                  </a:cubicBezTo>
                  <a:cubicBezTo>
                    <a:pt x="323" y="498"/>
                    <a:pt x="305" y="484"/>
                    <a:pt x="284" y="472"/>
                  </a:cubicBezTo>
                  <a:cubicBezTo>
                    <a:pt x="265" y="462"/>
                    <a:pt x="241" y="450"/>
                    <a:pt x="212" y="436"/>
                  </a:cubicBezTo>
                  <a:cubicBezTo>
                    <a:pt x="142" y="402"/>
                    <a:pt x="93" y="369"/>
                    <a:pt x="65" y="337"/>
                  </a:cubicBezTo>
                  <a:cubicBezTo>
                    <a:pt x="30" y="299"/>
                    <a:pt x="13" y="253"/>
                    <a:pt x="13" y="199"/>
                  </a:cubicBezTo>
                  <a:cubicBezTo>
                    <a:pt x="13" y="129"/>
                    <a:pt x="40" y="77"/>
                    <a:pt x="94" y="43"/>
                  </a:cubicBezTo>
                  <a:cubicBezTo>
                    <a:pt x="140" y="14"/>
                    <a:pt x="198" y="0"/>
                    <a:pt x="269" y="0"/>
                  </a:cubicBezTo>
                  <a:cubicBezTo>
                    <a:pt x="318" y="0"/>
                    <a:pt x="372" y="8"/>
                    <a:pt x="430" y="26"/>
                  </a:cubicBezTo>
                  <a:cubicBezTo>
                    <a:pt x="430" y="111"/>
                    <a:pt x="430" y="111"/>
                    <a:pt x="430" y="111"/>
                  </a:cubicBezTo>
                  <a:cubicBezTo>
                    <a:pt x="381" y="89"/>
                    <a:pt x="329" y="78"/>
                    <a:pt x="274" y="78"/>
                  </a:cubicBezTo>
                  <a:cubicBezTo>
                    <a:pt x="232" y="78"/>
                    <a:pt x="197" y="86"/>
                    <a:pt x="169" y="103"/>
                  </a:cubicBezTo>
                  <a:cubicBezTo>
                    <a:pt x="141" y="120"/>
                    <a:pt x="126" y="148"/>
                    <a:pt x="126" y="186"/>
                  </a:cubicBezTo>
                  <a:cubicBezTo>
                    <a:pt x="126" y="218"/>
                    <a:pt x="136" y="244"/>
                    <a:pt x="156" y="264"/>
                  </a:cubicBezTo>
                  <a:cubicBezTo>
                    <a:pt x="176" y="285"/>
                    <a:pt x="219" y="312"/>
                    <a:pt x="286" y="345"/>
                  </a:cubicBezTo>
                  <a:cubicBezTo>
                    <a:pt x="338" y="372"/>
                    <a:pt x="374" y="392"/>
                    <a:pt x="391" y="406"/>
                  </a:cubicBezTo>
                  <a:cubicBezTo>
                    <a:pt x="426" y="430"/>
                    <a:pt x="450" y="457"/>
                    <a:pt x="464" y="486"/>
                  </a:cubicBezTo>
                  <a:cubicBezTo>
                    <a:pt x="478" y="512"/>
                    <a:pt x="484" y="544"/>
                    <a:pt x="484" y="581"/>
                  </a:cubicBezTo>
                  <a:cubicBezTo>
                    <a:pt x="484" y="724"/>
                    <a:pt x="387" y="795"/>
                    <a:pt x="193" y="795"/>
                  </a:cubicBezTo>
                  <a:cubicBezTo>
                    <a:pt x="114" y="795"/>
                    <a:pt x="50" y="785"/>
                    <a:pt x="0" y="764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9"/>
            <p:cNvSpPr>
              <a:spLocks/>
            </p:cNvSpPr>
            <p:nvPr/>
          </p:nvSpPr>
          <p:spPr bwMode="gray">
            <a:xfrm>
              <a:off x="2141538" y="4010025"/>
              <a:ext cx="182563" cy="360363"/>
            </a:xfrm>
            <a:custGeom>
              <a:avLst/>
              <a:gdLst/>
              <a:ahLst/>
              <a:cxnLst>
                <a:cxn ang="0">
                  <a:pos x="0" y="1136"/>
                </a:cxn>
                <a:cxn ang="0">
                  <a:pos x="0" y="0"/>
                </a:cxn>
                <a:cxn ang="0">
                  <a:pos x="129" y="0"/>
                </a:cxn>
                <a:cxn ang="0">
                  <a:pos x="129" y="400"/>
                </a:cxn>
                <a:cxn ang="0">
                  <a:pos x="319" y="361"/>
                </a:cxn>
                <a:cxn ang="0">
                  <a:pos x="549" y="479"/>
                </a:cxn>
                <a:cxn ang="0">
                  <a:pos x="572" y="673"/>
                </a:cxn>
                <a:cxn ang="0">
                  <a:pos x="572" y="1136"/>
                </a:cxn>
                <a:cxn ang="0">
                  <a:pos x="443" y="1136"/>
                </a:cxn>
                <a:cxn ang="0">
                  <a:pos x="443" y="653"/>
                </a:cxn>
                <a:cxn ang="0">
                  <a:pos x="420" y="499"/>
                </a:cxn>
                <a:cxn ang="0">
                  <a:pos x="307" y="439"/>
                </a:cxn>
                <a:cxn ang="0">
                  <a:pos x="129" y="485"/>
                </a:cxn>
                <a:cxn ang="0">
                  <a:pos x="129" y="1136"/>
                </a:cxn>
                <a:cxn ang="0">
                  <a:pos x="0" y="1136"/>
                </a:cxn>
              </a:cxnLst>
              <a:rect l="0" t="0" r="r" b="b"/>
              <a:pathLst>
                <a:path w="572" h="1136">
                  <a:moveTo>
                    <a:pt x="0" y="113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00"/>
                    <a:pt x="129" y="400"/>
                    <a:pt x="129" y="400"/>
                  </a:cubicBezTo>
                  <a:cubicBezTo>
                    <a:pt x="196" y="374"/>
                    <a:pt x="260" y="361"/>
                    <a:pt x="319" y="361"/>
                  </a:cubicBezTo>
                  <a:cubicBezTo>
                    <a:pt x="438" y="361"/>
                    <a:pt x="515" y="400"/>
                    <a:pt x="549" y="479"/>
                  </a:cubicBezTo>
                  <a:cubicBezTo>
                    <a:pt x="564" y="515"/>
                    <a:pt x="572" y="579"/>
                    <a:pt x="572" y="673"/>
                  </a:cubicBezTo>
                  <a:cubicBezTo>
                    <a:pt x="572" y="1136"/>
                    <a:pt x="572" y="1136"/>
                    <a:pt x="572" y="1136"/>
                  </a:cubicBezTo>
                  <a:cubicBezTo>
                    <a:pt x="443" y="1136"/>
                    <a:pt x="443" y="1136"/>
                    <a:pt x="443" y="1136"/>
                  </a:cubicBezTo>
                  <a:cubicBezTo>
                    <a:pt x="443" y="653"/>
                    <a:pt x="443" y="653"/>
                    <a:pt x="443" y="653"/>
                  </a:cubicBezTo>
                  <a:cubicBezTo>
                    <a:pt x="443" y="581"/>
                    <a:pt x="436" y="529"/>
                    <a:pt x="420" y="499"/>
                  </a:cubicBezTo>
                  <a:cubicBezTo>
                    <a:pt x="400" y="459"/>
                    <a:pt x="362" y="439"/>
                    <a:pt x="307" y="439"/>
                  </a:cubicBezTo>
                  <a:cubicBezTo>
                    <a:pt x="256" y="439"/>
                    <a:pt x="196" y="454"/>
                    <a:pt x="129" y="485"/>
                  </a:cubicBezTo>
                  <a:cubicBezTo>
                    <a:pt x="129" y="1136"/>
                    <a:pt x="129" y="1136"/>
                    <a:pt x="129" y="1136"/>
                  </a:cubicBezTo>
                  <a:lnTo>
                    <a:pt x="0" y="113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0"/>
            <p:cNvSpPr>
              <a:spLocks noEditPoints="1"/>
            </p:cNvSpPr>
            <p:nvPr/>
          </p:nvSpPr>
          <p:spPr bwMode="gray">
            <a:xfrm>
              <a:off x="2379663" y="4124325"/>
              <a:ext cx="185738" cy="252413"/>
            </a:xfrm>
            <a:custGeom>
              <a:avLst/>
              <a:gdLst/>
              <a:ahLst/>
              <a:cxnLst>
                <a:cxn ang="0">
                  <a:pos x="456" y="298"/>
                </a:cxn>
                <a:cxn ang="0">
                  <a:pos x="456" y="259"/>
                </a:cxn>
                <a:cxn ang="0">
                  <a:pos x="432" y="144"/>
                </a:cxn>
                <a:cxn ang="0">
                  <a:pos x="283" y="81"/>
                </a:cxn>
                <a:cxn ang="0">
                  <a:pos x="73" y="123"/>
                </a:cxn>
                <a:cxn ang="0">
                  <a:pos x="73" y="33"/>
                </a:cxn>
                <a:cxn ang="0">
                  <a:pos x="296" y="0"/>
                </a:cxn>
                <a:cxn ang="0">
                  <a:pos x="539" y="80"/>
                </a:cxn>
                <a:cxn ang="0">
                  <a:pos x="582" y="209"/>
                </a:cxn>
                <a:cxn ang="0">
                  <a:pos x="585" y="303"/>
                </a:cxn>
                <a:cxn ang="0">
                  <a:pos x="585" y="760"/>
                </a:cxn>
                <a:cxn ang="0">
                  <a:pos x="305" y="795"/>
                </a:cxn>
                <a:cxn ang="0">
                  <a:pos x="86" y="752"/>
                </a:cxn>
                <a:cxn ang="0">
                  <a:pos x="0" y="583"/>
                </a:cxn>
                <a:cxn ang="0">
                  <a:pos x="99" y="380"/>
                </a:cxn>
                <a:cxn ang="0">
                  <a:pos x="350" y="310"/>
                </a:cxn>
                <a:cxn ang="0">
                  <a:pos x="456" y="298"/>
                </a:cxn>
                <a:cxn ang="0">
                  <a:pos x="456" y="372"/>
                </a:cxn>
                <a:cxn ang="0">
                  <a:pos x="278" y="399"/>
                </a:cxn>
                <a:cxn ang="0">
                  <a:pos x="132" y="570"/>
                </a:cxn>
                <a:cxn ang="0">
                  <a:pos x="175" y="679"/>
                </a:cxn>
                <a:cxn ang="0">
                  <a:pos x="325" y="718"/>
                </a:cxn>
                <a:cxn ang="0">
                  <a:pos x="456" y="700"/>
                </a:cxn>
                <a:cxn ang="0">
                  <a:pos x="456" y="372"/>
                </a:cxn>
              </a:cxnLst>
              <a:rect l="0" t="0" r="r" b="b"/>
              <a:pathLst>
                <a:path w="585" h="795">
                  <a:moveTo>
                    <a:pt x="456" y="298"/>
                  </a:moveTo>
                  <a:cubicBezTo>
                    <a:pt x="456" y="259"/>
                    <a:pt x="456" y="259"/>
                    <a:pt x="456" y="259"/>
                  </a:cubicBezTo>
                  <a:cubicBezTo>
                    <a:pt x="456" y="209"/>
                    <a:pt x="448" y="171"/>
                    <a:pt x="432" y="144"/>
                  </a:cubicBezTo>
                  <a:cubicBezTo>
                    <a:pt x="409" y="102"/>
                    <a:pt x="359" y="81"/>
                    <a:pt x="283" y="81"/>
                  </a:cubicBezTo>
                  <a:cubicBezTo>
                    <a:pt x="214" y="81"/>
                    <a:pt x="144" y="95"/>
                    <a:pt x="73" y="12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145" y="11"/>
                    <a:pt x="219" y="0"/>
                    <a:pt x="296" y="0"/>
                  </a:cubicBezTo>
                  <a:cubicBezTo>
                    <a:pt x="414" y="0"/>
                    <a:pt x="495" y="27"/>
                    <a:pt x="539" y="80"/>
                  </a:cubicBezTo>
                  <a:cubicBezTo>
                    <a:pt x="562" y="109"/>
                    <a:pt x="577" y="152"/>
                    <a:pt x="582" y="209"/>
                  </a:cubicBezTo>
                  <a:cubicBezTo>
                    <a:pt x="584" y="230"/>
                    <a:pt x="585" y="261"/>
                    <a:pt x="585" y="303"/>
                  </a:cubicBezTo>
                  <a:cubicBezTo>
                    <a:pt x="585" y="760"/>
                    <a:pt x="585" y="760"/>
                    <a:pt x="585" y="760"/>
                  </a:cubicBezTo>
                  <a:cubicBezTo>
                    <a:pt x="497" y="783"/>
                    <a:pt x="404" y="795"/>
                    <a:pt x="305" y="795"/>
                  </a:cubicBezTo>
                  <a:cubicBezTo>
                    <a:pt x="211" y="795"/>
                    <a:pt x="138" y="781"/>
                    <a:pt x="86" y="752"/>
                  </a:cubicBezTo>
                  <a:cubicBezTo>
                    <a:pt x="29" y="719"/>
                    <a:pt x="0" y="663"/>
                    <a:pt x="0" y="583"/>
                  </a:cubicBezTo>
                  <a:cubicBezTo>
                    <a:pt x="0" y="491"/>
                    <a:pt x="33" y="423"/>
                    <a:pt x="99" y="380"/>
                  </a:cubicBezTo>
                  <a:cubicBezTo>
                    <a:pt x="149" y="347"/>
                    <a:pt x="233" y="324"/>
                    <a:pt x="350" y="310"/>
                  </a:cubicBezTo>
                  <a:cubicBezTo>
                    <a:pt x="372" y="307"/>
                    <a:pt x="407" y="303"/>
                    <a:pt x="456" y="298"/>
                  </a:cubicBezTo>
                  <a:moveTo>
                    <a:pt x="456" y="372"/>
                  </a:moveTo>
                  <a:cubicBezTo>
                    <a:pt x="378" y="379"/>
                    <a:pt x="318" y="389"/>
                    <a:pt x="278" y="399"/>
                  </a:cubicBezTo>
                  <a:cubicBezTo>
                    <a:pt x="180" y="423"/>
                    <a:pt x="132" y="480"/>
                    <a:pt x="132" y="570"/>
                  </a:cubicBezTo>
                  <a:cubicBezTo>
                    <a:pt x="132" y="619"/>
                    <a:pt x="146" y="655"/>
                    <a:pt x="175" y="679"/>
                  </a:cubicBezTo>
                  <a:cubicBezTo>
                    <a:pt x="206" y="705"/>
                    <a:pt x="256" y="718"/>
                    <a:pt x="325" y="718"/>
                  </a:cubicBezTo>
                  <a:cubicBezTo>
                    <a:pt x="372" y="718"/>
                    <a:pt x="415" y="711"/>
                    <a:pt x="456" y="700"/>
                  </a:cubicBezTo>
                  <a:lnTo>
                    <a:pt x="456" y="37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1"/>
            <p:cNvSpPr>
              <a:spLocks noEditPoints="1"/>
            </p:cNvSpPr>
            <p:nvPr/>
          </p:nvSpPr>
          <p:spPr bwMode="gray">
            <a:xfrm>
              <a:off x="2638425" y="4124325"/>
              <a:ext cx="188913" cy="360363"/>
            </a:xfrm>
            <a:custGeom>
              <a:avLst/>
              <a:gdLst/>
              <a:ahLst/>
              <a:cxnLst>
                <a:cxn ang="0">
                  <a:pos x="129" y="742"/>
                </a:cxn>
                <a:cxn ang="0">
                  <a:pos x="129" y="1136"/>
                </a:cxn>
                <a:cxn ang="0">
                  <a:pos x="0" y="1136"/>
                </a:cxn>
                <a:cxn ang="0">
                  <a:pos x="0" y="30"/>
                </a:cxn>
                <a:cxn ang="0">
                  <a:pos x="260" y="0"/>
                </a:cxn>
                <a:cxn ang="0">
                  <a:pos x="528" y="118"/>
                </a:cxn>
                <a:cxn ang="0">
                  <a:pos x="592" y="396"/>
                </a:cxn>
                <a:cxn ang="0">
                  <a:pos x="511" y="691"/>
                </a:cxn>
                <a:cxn ang="0">
                  <a:pos x="287" y="795"/>
                </a:cxn>
                <a:cxn ang="0">
                  <a:pos x="180" y="775"/>
                </a:cxn>
                <a:cxn ang="0">
                  <a:pos x="129" y="742"/>
                </a:cxn>
                <a:cxn ang="0">
                  <a:pos x="129" y="653"/>
                </a:cxn>
                <a:cxn ang="0">
                  <a:pos x="272" y="718"/>
                </a:cxn>
                <a:cxn ang="0">
                  <a:pos x="418" y="618"/>
                </a:cxn>
                <a:cxn ang="0">
                  <a:pos x="461" y="395"/>
                </a:cxn>
                <a:cxn ang="0">
                  <a:pos x="403" y="147"/>
                </a:cxn>
                <a:cxn ang="0">
                  <a:pos x="241" y="78"/>
                </a:cxn>
                <a:cxn ang="0">
                  <a:pos x="129" y="87"/>
                </a:cxn>
                <a:cxn ang="0">
                  <a:pos x="129" y="653"/>
                </a:cxn>
              </a:cxnLst>
              <a:rect l="0" t="0" r="r" b="b"/>
              <a:pathLst>
                <a:path w="592" h="1136">
                  <a:moveTo>
                    <a:pt x="129" y="742"/>
                  </a:moveTo>
                  <a:cubicBezTo>
                    <a:pt x="129" y="1136"/>
                    <a:pt x="129" y="1136"/>
                    <a:pt x="129" y="1136"/>
                  </a:cubicBezTo>
                  <a:cubicBezTo>
                    <a:pt x="0" y="1136"/>
                    <a:pt x="0" y="1136"/>
                    <a:pt x="0" y="113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89" y="10"/>
                    <a:pt x="175" y="0"/>
                    <a:pt x="260" y="0"/>
                  </a:cubicBezTo>
                  <a:cubicBezTo>
                    <a:pt x="391" y="0"/>
                    <a:pt x="480" y="39"/>
                    <a:pt x="528" y="118"/>
                  </a:cubicBezTo>
                  <a:cubicBezTo>
                    <a:pt x="571" y="188"/>
                    <a:pt x="592" y="281"/>
                    <a:pt x="592" y="396"/>
                  </a:cubicBezTo>
                  <a:cubicBezTo>
                    <a:pt x="592" y="518"/>
                    <a:pt x="565" y="616"/>
                    <a:pt x="511" y="691"/>
                  </a:cubicBezTo>
                  <a:cubicBezTo>
                    <a:pt x="460" y="761"/>
                    <a:pt x="385" y="795"/>
                    <a:pt x="287" y="795"/>
                  </a:cubicBezTo>
                  <a:cubicBezTo>
                    <a:pt x="245" y="795"/>
                    <a:pt x="209" y="789"/>
                    <a:pt x="180" y="775"/>
                  </a:cubicBezTo>
                  <a:cubicBezTo>
                    <a:pt x="166" y="769"/>
                    <a:pt x="149" y="758"/>
                    <a:pt x="129" y="742"/>
                  </a:cubicBezTo>
                  <a:moveTo>
                    <a:pt x="129" y="653"/>
                  </a:moveTo>
                  <a:cubicBezTo>
                    <a:pt x="172" y="696"/>
                    <a:pt x="220" y="718"/>
                    <a:pt x="272" y="718"/>
                  </a:cubicBezTo>
                  <a:cubicBezTo>
                    <a:pt x="338" y="718"/>
                    <a:pt x="387" y="684"/>
                    <a:pt x="418" y="618"/>
                  </a:cubicBezTo>
                  <a:cubicBezTo>
                    <a:pt x="447" y="557"/>
                    <a:pt x="461" y="483"/>
                    <a:pt x="461" y="395"/>
                  </a:cubicBezTo>
                  <a:cubicBezTo>
                    <a:pt x="461" y="284"/>
                    <a:pt x="442" y="202"/>
                    <a:pt x="403" y="147"/>
                  </a:cubicBezTo>
                  <a:cubicBezTo>
                    <a:pt x="372" y="101"/>
                    <a:pt x="318" y="78"/>
                    <a:pt x="241" y="78"/>
                  </a:cubicBezTo>
                  <a:cubicBezTo>
                    <a:pt x="207" y="78"/>
                    <a:pt x="170" y="81"/>
                    <a:pt x="129" y="87"/>
                  </a:cubicBezTo>
                  <a:lnTo>
                    <a:pt x="129" y="6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2"/>
            <p:cNvSpPr>
              <a:spLocks noEditPoints="1"/>
            </p:cNvSpPr>
            <p:nvPr/>
          </p:nvSpPr>
          <p:spPr bwMode="gray">
            <a:xfrm>
              <a:off x="2882900" y="4043363"/>
              <a:ext cx="50800" cy="327025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137" y="26"/>
                </a:cxn>
                <a:cxn ang="0">
                  <a:pos x="157" y="79"/>
                </a:cxn>
                <a:cxn ang="0">
                  <a:pos x="131" y="139"/>
                </a:cxn>
                <a:cxn ang="0">
                  <a:pos x="78" y="159"/>
                </a:cxn>
                <a:cxn ang="0">
                  <a:pos x="20" y="133"/>
                </a:cxn>
                <a:cxn ang="0">
                  <a:pos x="0" y="78"/>
                </a:cxn>
                <a:cxn ang="0">
                  <a:pos x="25" y="20"/>
                </a:cxn>
                <a:cxn ang="0">
                  <a:pos x="78" y="0"/>
                </a:cxn>
                <a:cxn ang="0">
                  <a:pos x="15" y="277"/>
                </a:cxn>
                <a:cxn ang="0">
                  <a:pos x="144" y="277"/>
                </a:cxn>
                <a:cxn ang="0">
                  <a:pos x="144" y="1031"/>
                </a:cxn>
                <a:cxn ang="0">
                  <a:pos x="15" y="1031"/>
                </a:cxn>
                <a:cxn ang="0">
                  <a:pos x="15" y="277"/>
                </a:cxn>
              </a:cxnLst>
              <a:rect l="0" t="0" r="r" b="b"/>
              <a:pathLst>
                <a:path w="157" h="1031">
                  <a:moveTo>
                    <a:pt x="78" y="0"/>
                  </a:moveTo>
                  <a:cubicBezTo>
                    <a:pt x="102" y="0"/>
                    <a:pt x="121" y="9"/>
                    <a:pt x="137" y="26"/>
                  </a:cubicBezTo>
                  <a:cubicBezTo>
                    <a:pt x="150" y="42"/>
                    <a:pt x="157" y="59"/>
                    <a:pt x="157" y="79"/>
                  </a:cubicBezTo>
                  <a:cubicBezTo>
                    <a:pt x="157" y="103"/>
                    <a:pt x="148" y="123"/>
                    <a:pt x="131" y="139"/>
                  </a:cubicBezTo>
                  <a:cubicBezTo>
                    <a:pt x="116" y="152"/>
                    <a:pt x="99" y="159"/>
                    <a:pt x="78" y="159"/>
                  </a:cubicBezTo>
                  <a:cubicBezTo>
                    <a:pt x="54" y="159"/>
                    <a:pt x="35" y="150"/>
                    <a:pt x="20" y="133"/>
                  </a:cubicBezTo>
                  <a:cubicBezTo>
                    <a:pt x="6" y="118"/>
                    <a:pt x="0" y="99"/>
                    <a:pt x="0" y="78"/>
                  </a:cubicBezTo>
                  <a:cubicBezTo>
                    <a:pt x="0" y="56"/>
                    <a:pt x="8" y="37"/>
                    <a:pt x="25" y="20"/>
                  </a:cubicBezTo>
                  <a:cubicBezTo>
                    <a:pt x="40" y="7"/>
                    <a:pt x="58" y="0"/>
                    <a:pt x="78" y="0"/>
                  </a:cubicBezTo>
                  <a:moveTo>
                    <a:pt x="15" y="277"/>
                  </a:moveTo>
                  <a:cubicBezTo>
                    <a:pt x="144" y="277"/>
                    <a:pt x="144" y="277"/>
                    <a:pt x="144" y="277"/>
                  </a:cubicBezTo>
                  <a:cubicBezTo>
                    <a:pt x="144" y="1031"/>
                    <a:pt x="144" y="1031"/>
                    <a:pt x="144" y="1031"/>
                  </a:cubicBezTo>
                  <a:cubicBezTo>
                    <a:pt x="15" y="1031"/>
                    <a:pt x="15" y="1031"/>
                    <a:pt x="15" y="1031"/>
                  </a:cubicBezTo>
                  <a:lnTo>
                    <a:pt x="15" y="27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3"/>
            <p:cNvSpPr>
              <a:spLocks/>
            </p:cNvSpPr>
            <p:nvPr/>
          </p:nvSpPr>
          <p:spPr bwMode="gray">
            <a:xfrm>
              <a:off x="3006725" y="4124325"/>
              <a:ext cx="180975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0"/>
                </a:cxn>
                <a:cxn ang="0">
                  <a:pos x="302" y="0"/>
                </a:cxn>
                <a:cxn ang="0">
                  <a:pos x="550" y="119"/>
                </a:cxn>
                <a:cxn ang="0">
                  <a:pos x="573" y="312"/>
                </a:cxn>
                <a:cxn ang="0">
                  <a:pos x="573" y="775"/>
                </a:cxn>
                <a:cxn ang="0">
                  <a:pos x="444" y="775"/>
                </a:cxn>
                <a:cxn ang="0">
                  <a:pos x="444" y="320"/>
                </a:cxn>
                <a:cxn ang="0">
                  <a:pos x="421" y="140"/>
                </a:cxn>
                <a:cxn ang="0">
                  <a:pos x="290" y="78"/>
                </a:cxn>
                <a:cxn ang="0">
                  <a:pos x="130" y="94"/>
                </a:cxn>
                <a:cxn ang="0">
                  <a:pos x="130" y="775"/>
                </a:cxn>
                <a:cxn ang="0">
                  <a:pos x="0" y="775"/>
                </a:cxn>
              </a:cxnLst>
              <a:rect l="0" t="0" r="r" b="b"/>
              <a:pathLst>
                <a:path w="573" h="775">
                  <a:moveTo>
                    <a:pt x="0" y="775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20" y="10"/>
                    <a:pt x="220" y="0"/>
                    <a:pt x="302" y="0"/>
                  </a:cubicBezTo>
                  <a:cubicBezTo>
                    <a:pt x="434" y="0"/>
                    <a:pt x="516" y="39"/>
                    <a:pt x="550" y="119"/>
                  </a:cubicBezTo>
                  <a:cubicBezTo>
                    <a:pt x="565" y="155"/>
                    <a:pt x="573" y="220"/>
                    <a:pt x="573" y="312"/>
                  </a:cubicBezTo>
                  <a:cubicBezTo>
                    <a:pt x="573" y="775"/>
                    <a:pt x="573" y="775"/>
                    <a:pt x="573" y="775"/>
                  </a:cubicBezTo>
                  <a:cubicBezTo>
                    <a:pt x="444" y="775"/>
                    <a:pt x="444" y="775"/>
                    <a:pt x="444" y="775"/>
                  </a:cubicBezTo>
                  <a:cubicBezTo>
                    <a:pt x="444" y="320"/>
                    <a:pt x="444" y="320"/>
                    <a:pt x="444" y="320"/>
                  </a:cubicBezTo>
                  <a:cubicBezTo>
                    <a:pt x="444" y="230"/>
                    <a:pt x="436" y="171"/>
                    <a:pt x="421" y="140"/>
                  </a:cubicBezTo>
                  <a:cubicBezTo>
                    <a:pt x="400" y="99"/>
                    <a:pt x="356" y="78"/>
                    <a:pt x="290" y="78"/>
                  </a:cubicBezTo>
                  <a:cubicBezTo>
                    <a:pt x="237" y="78"/>
                    <a:pt x="184" y="83"/>
                    <a:pt x="130" y="94"/>
                  </a:cubicBezTo>
                  <a:cubicBezTo>
                    <a:pt x="130" y="775"/>
                    <a:pt x="130" y="775"/>
                    <a:pt x="130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4"/>
            <p:cNvSpPr>
              <a:spLocks noEditPoints="1"/>
            </p:cNvSpPr>
            <p:nvPr/>
          </p:nvSpPr>
          <p:spPr bwMode="gray">
            <a:xfrm>
              <a:off x="3244850" y="4124325"/>
              <a:ext cx="188913" cy="363538"/>
            </a:xfrm>
            <a:custGeom>
              <a:avLst/>
              <a:gdLst/>
              <a:ahLst/>
              <a:cxnLst>
                <a:cxn ang="0">
                  <a:pos x="466" y="707"/>
                </a:cxn>
                <a:cxn ang="0">
                  <a:pos x="418" y="752"/>
                </a:cxn>
                <a:cxn ang="0">
                  <a:pos x="268" y="795"/>
                </a:cxn>
                <a:cxn ang="0">
                  <a:pos x="102" y="740"/>
                </a:cxn>
                <a:cxn ang="0">
                  <a:pos x="0" y="433"/>
                </a:cxn>
                <a:cxn ang="0">
                  <a:pos x="75" y="137"/>
                </a:cxn>
                <a:cxn ang="0">
                  <a:pos x="356" y="0"/>
                </a:cxn>
                <a:cxn ang="0">
                  <a:pos x="595" y="30"/>
                </a:cxn>
                <a:cxn ang="0">
                  <a:pos x="595" y="628"/>
                </a:cxn>
                <a:cxn ang="0">
                  <a:pos x="580" y="881"/>
                </a:cxn>
                <a:cxn ang="0">
                  <a:pos x="441" y="1099"/>
                </a:cxn>
                <a:cxn ang="0">
                  <a:pos x="200" y="1147"/>
                </a:cxn>
                <a:cxn ang="0">
                  <a:pos x="103" y="1141"/>
                </a:cxn>
                <a:cxn ang="0">
                  <a:pos x="103" y="1064"/>
                </a:cxn>
                <a:cxn ang="0">
                  <a:pos x="199" y="1069"/>
                </a:cxn>
                <a:cxn ang="0">
                  <a:pos x="357" y="1041"/>
                </a:cxn>
                <a:cxn ang="0">
                  <a:pos x="454" y="896"/>
                </a:cxn>
                <a:cxn ang="0">
                  <a:pos x="466" y="748"/>
                </a:cxn>
                <a:cxn ang="0">
                  <a:pos x="466" y="707"/>
                </a:cxn>
                <a:cxn ang="0">
                  <a:pos x="466" y="85"/>
                </a:cxn>
                <a:cxn ang="0">
                  <a:pos x="369" y="78"/>
                </a:cxn>
                <a:cxn ang="0">
                  <a:pos x="242" y="111"/>
                </a:cxn>
                <a:cxn ang="0">
                  <a:pos x="159" y="244"/>
                </a:cxn>
                <a:cxn ang="0">
                  <a:pos x="132" y="438"/>
                </a:cxn>
                <a:cxn ang="0">
                  <a:pos x="183" y="662"/>
                </a:cxn>
                <a:cxn ang="0">
                  <a:pos x="286" y="718"/>
                </a:cxn>
                <a:cxn ang="0">
                  <a:pos x="388" y="683"/>
                </a:cxn>
                <a:cxn ang="0">
                  <a:pos x="455" y="592"/>
                </a:cxn>
                <a:cxn ang="0">
                  <a:pos x="466" y="505"/>
                </a:cxn>
                <a:cxn ang="0">
                  <a:pos x="466" y="85"/>
                </a:cxn>
              </a:cxnLst>
              <a:rect l="0" t="0" r="r" b="b"/>
              <a:pathLst>
                <a:path w="595" h="1147">
                  <a:moveTo>
                    <a:pt x="466" y="707"/>
                  </a:moveTo>
                  <a:cubicBezTo>
                    <a:pt x="446" y="728"/>
                    <a:pt x="430" y="743"/>
                    <a:pt x="418" y="752"/>
                  </a:cubicBezTo>
                  <a:cubicBezTo>
                    <a:pt x="378" y="781"/>
                    <a:pt x="329" y="795"/>
                    <a:pt x="268" y="795"/>
                  </a:cubicBezTo>
                  <a:cubicBezTo>
                    <a:pt x="201" y="795"/>
                    <a:pt x="146" y="777"/>
                    <a:pt x="102" y="740"/>
                  </a:cubicBezTo>
                  <a:cubicBezTo>
                    <a:pt x="34" y="683"/>
                    <a:pt x="0" y="581"/>
                    <a:pt x="0" y="433"/>
                  </a:cubicBezTo>
                  <a:cubicBezTo>
                    <a:pt x="0" y="313"/>
                    <a:pt x="25" y="215"/>
                    <a:pt x="75" y="137"/>
                  </a:cubicBezTo>
                  <a:cubicBezTo>
                    <a:pt x="133" y="46"/>
                    <a:pt x="226" y="0"/>
                    <a:pt x="356" y="0"/>
                  </a:cubicBezTo>
                  <a:cubicBezTo>
                    <a:pt x="433" y="0"/>
                    <a:pt x="513" y="10"/>
                    <a:pt x="595" y="30"/>
                  </a:cubicBezTo>
                  <a:cubicBezTo>
                    <a:pt x="595" y="628"/>
                    <a:pt x="595" y="628"/>
                    <a:pt x="595" y="628"/>
                  </a:cubicBezTo>
                  <a:cubicBezTo>
                    <a:pt x="595" y="739"/>
                    <a:pt x="590" y="823"/>
                    <a:pt x="580" y="881"/>
                  </a:cubicBezTo>
                  <a:cubicBezTo>
                    <a:pt x="563" y="986"/>
                    <a:pt x="516" y="1059"/>
                    <a:pt x="441" y="1099"/>
                  </a:cubicBezTo>
                  <a:cubicBezTo>
                    <a:pt x="380" y="1131"/>
                    <a:pt x="299" y="1147"/>
                    <a:pt x="200" y="1147"/>
                  </a:cubicBezTo>
                  <a:cubicBezTo>
                    <a:pt x="172" y="1147"/>
                    <a:pt x="140" y="1145"/>
                    <a:pt x="103" y="1141"/>
                  </a:cubicBezTo>
                  <a:cubicBezTo>
                    <a:pt x="103" y="1064"/>
                    <a:pt x="103" y="1064"/>
                    <a:pt x="103" y="1064"/>
                  </a:cubicBezTo>
                  <a:cubicBezTo>
                    <a:pt x="136" y="1068"/>
                    <a:pt x="168" y="1069"/>
                    <a:pt x="199" y="1069"/>
                  </a:cubicBezTo>
                  <a:cubicBezTo>
                    <a:pt x="270" y="1069"/>
                    <a:pt x="322" y="1060"/>
                    <a:pt x="357" y="1041"/>
                  </a:cubicBezTo>
                  <a:cubicBezTo>
                    <a:pt x="408" y="1014"/>
                    <a:pt x="440" y="966"/>
                    <a:pt x="454" y="896"/>
                  </a:cubicBezTo>
                  <a:cubicBezTo>
                    <a:pt x="462" y="857"/>
                    <a:pt x="466" y="808"/>
                    <a:pt x="466" y="748"/>
                  </a:cubicBezTo>
                  <a:lnTo>
                    <a:pt x="466" y="707"/>
                  </a:lnTo>
                  <a:close/>
                  <a:moveTo>
                    <a:pt x="466" y="85"/>
                  </a:moveTo>
                  <a:cubicBezTo>
                    <a:pt x="430" y="80"/>
                    <a:pt x="398" y="78"/>
                    <a:pt x="369" y="78"/>
                  </a:cubicBezTo>
                  <a:cubicBezTo>
                    <a:pt x="315" y="78"/>
                    <a:pt x="272" y="89"/>
                    <a:pt x="242" y="111"/>
                  </a:cubicBezTo>
                  <a:cubicBezTo>
                    <a:pt x="207" y="136"/>
                    <a:pt x="179" y="180"/>
                    <a:pt x="159" y="244"/>
                  </a:cubicBezTo>
                  <a:cubicBezTo>
                    <a:pt x="141" y="299"/>
                    <a:pt x="132" y="364"/>
                    <a:pt x="132" y="438"/>
                  </a:cubicBezTo>
                  <a:cubicBezTo>
                    <a:pt x="132" y="540"/>
                    <a:pt x="149" y="615"/>
                    <a:pt x="183" y="662"/>
                  </a:cubicBezTo>
                  <a:cubicBezTo>
                    <a:pt x="209" y="699"/>
                    <a:pt x="243" y="718"/>
                    <a:pt x="286" y="718"/>
                  </a:cubicBezTo>
                  <a:cubicBezTo>
                    <a:pt x="323" y="718"/>
                    <a:pt x="357" y="706"/>
                    <a:pt x="388" y="683"/>
                  </a:cubicBezTo>
                  <a:cubicBezTo>
                    <a:pt x="420" y="660"/>
                    <a:pt x="442" y="629"/>
                    <a:pt x="455" y="592"/>
                  </a:cubicBezTo>
                  <a:cubicBezTo>
                    <a:pt x="462" y="572"/>
                    <a:pt x="466" y="543"/>
                    <a:pt x="466" y="505"/>
                  </a:cubicBezTo>
                  <a:lnTo>
                    <a:pt x="466" y="8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15"/>
            <p:cNvSpPr>
              <a:spLocks/>
            </p:cNvSpPr>
            <p:nvPr/>
          </p:nvSpPr>
          <p:spPr bwMode="gray">
            <a:xfrm>
              <a:off x="3619500" y="4065588"/>
              <a:ext cx="106363" cy="3048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9" y="0"/>
                </a:cxn>
                <a:cxn ang="0">
                  <a:pos x="129" y="204"/>
                </a:cxn>
                <a:cxn ang="0">
                  <a:pos x="332" y="204"/>
                </a:cxn>
                <a:cxn ang="0">
                  <a:pos x="332" y="286"/>
                </a:cxn>
                <a:cxn ang="0">
                  <a:pos x="129" y="286"/>
                </a:cxn>
                <a:cxn ang="0">
                  <a:pos x="129" y="686"/>
                </a:cxn>
                <a:cxn ang="0">
                  <a:pos x="163" y="840"/>
                </a:cxn>
                <a:cxn ang="0">
                  <a:pos x="235" y="873"/>
                </a:cxn>
                <a:cxn ang="0">
                  <a:pos x="290" y="875"/>
                </a:cxn>
                <a:cxn ang="0">
                  <a:pos x="332" y="875"/>
                </a:cxn>
                <a:cxn ang="0">
                  <a:pos x="332" y="958"/>
                </a:cxn>
                <a:cxn ang="0">
                  <a:pos x="263" y="958"/>
                </a:cxn>
                <a:cxn ang="0">
                  <a:pos x="132" y="945"/>
                </a:cxn>
                <a:cxn ang="0">
                  <a:pos x="12" y="817"/>
                </a:cxn>
                <a:cxn ang="0">
                  <a:pos x="0" y="667"/>
                </a:cxn>
                <a:cxn ang="0">
                  <a:pos x="0" y="0"/>
                </a:cxn>
              </a:cxnLst>
              <a:rect l="0" t="0" r="r" b="b"/>
              <a:pathLst>
                <a:path w="332" h="958">
                  <a:moveTo>
                    <a:pt x="0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9" y="204"/>
                    <a:pt x="129" y="204"/>
                    <a:pt x="129" y="204"/>
                  </a:cubicBezTo>
                  <a:cubicBezTo>
                    <a:pt x="332" y="204"/>
                    <a:pt x="332" y="204"/>
                    <a:pt x="332" y="204"/>
                  </a:cubicBezTo>
                  <a:cubicBezTo>
                    <a:pt x="332" y="286"/>
                    <a:pt x="332" y="286"/>
                    <a:pt x="332" y="286"/>
                  </a:cubicBezTo>
                  <a:cubicBezTo>
                    <a:pt x="129" y="286"/>
                    <a:pt x="129" y="286"/>
                    <a:pt x="129" y="286"/>
                  </a:cubicBezTo>
                  <a:cubicBezTo>
                    <a:pt x="129" y="686"/>
                    <a:pt x="129" y="686"/>
                    <a:pt x="129" y="686"/>
                  </a:cubicBezTo>
                  <a:cubicBezTo>
                    <a:pt x="129" y="762"/>
                    <a:pt x="140" y="813"/>
                    <a:pt x="163" y="840"/>
                  </a:cubicBezTo>
                  <a:cubicBezTo>
                    <a:pt x="179" y="858"/>
                    <a:pt x="203" y="869"/>
                    <a:pt x="235" y="873"/>
                  </a:cubicBezTo>
                  <a:cubicBezTo>
                    <a:pt x="245" y="875"/>
                    <a:pt x="264" y="875"/>
                    <a:pt x="290" y="875"/>
                  </a:cubicBezTo>
                  <a:cubicBezTo>
                    <a:pt x="332" y="875"/>
                    <a:pt x="332" y="875"/>
                    <a:pt x="332" y="875"/>
                  </a:cubicBezTo>
                  <a:cubicBezTo>
                    <a:pt x="332" y="958"/>
                    <a:pt x="332" y="958"/>
                    <a:pt x="332" y="958"/>
                  </a:cubicBezTo>
                  <a:cubicBezTo>
                    <a:pt x="263" y="958"/>
                    <a:pt x="263" y="958"/>
                    <a:pt x="263" y="958"/>
                  </a:cubicBezTo>
                  <a:cubicBezTo>
                    <a:pt x="207" y="958"/>
                    <a:pt x="164" y="953"/>
                    <a:pt x="132" y="945"/>
                  </a:cubicBezTo>
                  <a:cubicBezTo>
                    <a:pt x="67" y="927"/>
                    <a:pt x="27" y="884"/>
                    <a:pt x="12" y="817"/>
                  </a:cubicBezTo>
                  <a:cubicBezTo>
                    <a:pt x="4" y="781"/>
                    <a:pt x="0" y="731"/>
                    <a:pt x="0" y="6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6"/>
            <p:cNvSpPr>
              <a:spLocks noEditPoints="1"/>
            </p:cNvSpPr>
            <p:nvPr/>
          </p:nvSpPr>
          <p:spPr bwMode="gray">
            <a:xfrm>
              <a:off x="3768725" y="4124325"/>
              <a:ext cx="201613" cy="252413"/>
            </a:xfrm>
            <a:custGeom>
              <a:avLst/>
              <a:gdLst/>
              <a:ahLst/>
              <a:cxnLst>
                <a:cxn ang="0">
                  <a:pos x="318" y="0"/>
                </a:cxn>
                <a:cxn ang="0">
                  <a:pos x="559" y="107"/>
                </a:cxn>
                <a:cxn ang="0">
                  <a:pos x="634" y="398"/>
                </a:cxn>
                <a:cxn ang="0">
                  <a:pos x="559" y="688"/>
                </a:cxn>
                <a:cxn ang="0">
                  <a:pos x="318" y="795"/>
                </a:cxn>
                <a:cxn ang="0">
                  <a:pos x="0" y="393"/>
                </a:cxn>
                <a:cxn ang="0">
                  <a:pos x="76" y="107"/>
                </a:cxn>
                <a:cxn ang="0">
                  <a:pos x="318" y="0"/>
                </a:cxn>
                <a:cxn ang="0">
                  <a:pos x="318" y="78"/>
                </a:cxn>
                <a:cxn ang="0">
                  <a:pos x="166" y="176"/>
                </a:cxn>
                <a:cxn ang="0">
                  <a:pos x="132" y="394"/>
                </a:cxn>
                <a:cxn ang="0">
                  <a:pos x="166" y="619"/>
                </a:cxn>
                <a:cxn ang="0">
                  <a:pos x="318" y="718"/>
                </a:cxn>
                <a:cxn ang="0">
                  <a:pos x="468" y="619"/>
                </a:cxn>
                <a:cxn ang="0">
                  <a:pos x="503" y="398"/>
                </a:cxn>
                <a:cxn ang="0">
                  <a:pos x="468" y="176"/>
                </a:cxn>
                <a:cxn ang="0">
                  <a:pos x="318" y="78"/>
                </a:cxn>
              </a:cxnLst>
              <a:rect l="0" t="0" r="r" b="b"/>
              <a:pathLst>
                <a:path w="634" h="795">
                  <a:moveTo>
                    <a:pt x="318" y="0"/>
                  </a:moveTo>
                  <a:cubicBezTo>
                    <a:pt x="426" y="0"/>
                    <a:pt x="506" y="36"/>
                    <a:pt x="559" y="107"/>
                  </a:cubicBezTo>
                  <a:cubicBezTo>
                    <a:pt x="609" y="176"/>
                    <a:pt x="634" y="273"/>
                    <a:pt x="634" y="398"/>
                  </a:cubicBezTo>
                  <a:cubicBezTo>
                    <a:pt x="634" y="521"/>
                    <a:pt x="609" y="618"/>
                    <a:pt x="559" y="688"/>
                  </a:cubicBezTo>
                  <a:cubicBezTo>
                    <a:pt x="507" y="760"/>
                    <a:pt x="427" y="795"/>
                    <a:pt x="318" y="795"/>
                  </a:cubicBezTo>
                  <a:cubicBezTo>
                    <a:pt x="106" y="795"/>
                    <a:pt x="0" y="661"/>
                    <a:pt x="0" y="393"/>
                  </a:cubicBezTo>
                  <a:cubicBezTo>
                    <a:pt x="0" y="271"/>
                    <a:pt x="26" y="176"/>
                    <a:pt x="76" y="107"/>
                  </a:cubicBezTo>
                  <a:cubicBezTo>
                    <a:pt x="129" y="36"/>
                    <a:pt x="209" y="0"/>
                    <a:pt x="318" y="0"/>
                  </a:cubicBezTo>
                  <a:moveTo>
                    <a:pt x="318" y="78"/>
                  </a:moveTo>
                  <a:cubicBezTo>
                    <a:pt x="245" y="78"/>
                    <a:pt x="194" y="110"/>
                    <a:pt x="166" y="176"/>
                  </a:cubicBezTo>
                  <a:cubicBezTo>
                    <a:pt x="144" y="230"/>
                    <a:pt x="132" y="303"/>
                    <a:pt x="132" y="394"/>
                  </a:cubicBezTo>
                  <a:cubicBezTo>
                    <a:pt x="132" y="490"/>
                    <a:pt x="144" y="565"/>
                    <a:pt x="166" y="619"/>
                  </a:cubicBezTo>
                  <a:cubicBezTo>
                    <a:pt x="194" y="685"/>
                    <a:pt x="245" y="718"/>
                    <a:pt x="318" y="718"/>
                  </a:cubicBezTo>
                  <a:cubicBezTo>
                    <a:pt x="391" y="718"/>
                    <a:pt x="441" y="685"/>
                    <a:pt x="468" y="619"/>
                  </a:cubicBezTo>
                  <a:cubicBezTo>
                    <a:pt x="491" y="565"/>
                    <a:pt x="503" y="491"/>
                    <a:pt x="503" y="398"/>
                  </a:cubicBezTo>
                  <a:cubicBezTo>
                    <a:pt x="503" y="302"/>
                    <a:pt x="491" y="228"/>
                    <a:pt x="468" y="176"/>
                  </a:cubicBezTo>
                  <a:cubicBezTo>
                    <a:pt x="440" y="110"/>
                    <a:pt x="390" y="78"/>
                    <a:pt x="318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7"/>
            <p:cNvSpPr>
              <a:spLocks/>
            </p:cNvSpPr>
            <p:nvPr/>
          </p:nvSpPr>
          <p:spPr bwMode="gray">
            <a:xfrm>
              <a:off x="4029075" y="4124325"/>
              <a:ext cx="309563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0"/>
                </a:cxn>
                <a:cxn ang="0">
                  <a:pos x="278" y="0"/>
                </a:cxn>
                <a:cxn ang="0">
                  <a:pos x="480" y="49"/>
                </a:cxn>
                <a:cxn ang="0">
                  <a:pos x="722" y="0"/>
                </a:cxn>
                <a:cxn ang="0">
                  <a:pos x="952" y="119"/>
                </a:cxn>
                <a:cxn ang="0">
                  <a:pos x="974" y="312"/>
                </a:cxn>
                <a:cxn ang="0">
                  <a:pos x="974" y="775"/>
                </a:cxn>
                <a:cxn ang="0">
                  <a:pos x="845" y="775"/>
                </a:cxn>
                <a:cxn ang="0">
                  <a:pos x="845" y="320"/>
                </a:cxn>
                <a:cxn ang="0">
                  <a:pos x="824" y="141"/>
                </a:cxn>
                <a:cxn ang="0">
                  <a:pos x="705" y="78"/>
                </a:cxn>
                <a:cxn ang="0">
                  <a:pos x="551" y="113"/>
                </a:cxn>
                <a:cxn ang="0">
                  <a:pos x="551" y="775"/>
                </a:cxn>
                <a:cxn ang="0">
                  <a:pos x="422" y="775"/>
                </a:cxn>
                <a:cxn ang="0">
                  <a:pos x="422" y="314"/>
                </a:cxn>
                <a:cxn ang="0">
                  <a:pos x="401" y="141"/>
                </a:cxn>
                <a:cxn ang="0">
                  <a:pos x="278" y="78"/>
                </a:cxn>
                <a:cxn ang="0">
                  <a:pos x="128" y="94"/>
                </a:cxn>
                <a:cxn ang="0">
                  <a:pos x="128" y="775"/>
                </a:cxn>
                <a:cxn ang="0">
                  <a:pos x="0" y="775"/>
                </a:cxn>
              </a:cxnLst>
              <a:rect l="0" t="0" r="r" b="b"/>
              <a:pathLst>
                <a:path w="974" h="775">
                  <a:moveTo>
                    <a:pt x="0" y="775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17" y="10"/>
                    <a:pt x="210" y="0"/>
                    <a:pt x="278" y="0"/>
                  </a:cubicBezTo>
                  <a:cubicBezTo>
                    <a:pt x="367" y="0"/>
                    <a:pt x="435" y="16"/>
                    <a:pt x="480" y="49"/>
                  </a:cubicBezTo>
                  <a:cubicBezTo>
                    <a:pt x="561" y="16"/>
                    <a:pt x="642" y="0"/>
                    <a:pt x="722" y="0"/>
                  </a:cubicBezTo>
                  <a:cubicBezTo>
                    <a:pt x="843" y="0"/>
                    <a:pt x="920" y="40"/>
                    <a:pt x="952" y="119"/>
                  </a:cubicBezTo>
                  <a:cubicBezTo>
                    <a:pt x="967" y="156"/>
                    <a:pt x="974" y="220"/>
                    <a:pt x="974" y="312"/>
                  </a:cubicBezTo>
                  <a:cubicBezTo>
                    <a:pt x="974" y="775"/>
                    <a:pt x="974" y="775"/>
                    <a:pt x="974" y="775"/>
                  </a:cubicBezTo>
                  <a:cubicBezTo>
                    <a:pt x="845" y="775"/>
                    <a:pt x="845" y="775"/>
                    <a:pt x="845" y="775"/>
                  </a:cubicBezTo>
                  <a:cubicBezTo>
                    <a:pt x="845" y="320"/>
                    <a:pt x="845" y="320"/>
                    <a:pt x="845" y="320"/>
                  </a:cubicBezTo>
                  <a:cubicBezTo>
                    <a:pt x="845" y="231"/>
                    <a:pt x="838" y="172"/>
                    <a:pt x="824" y="141"/>
                  </a:cubicBezTo>
                  <a:cubicBezTo>
                    <a:pt x="805" y="99"/>
                    <a:pt x="765" y="78"/>
                    <a:pt x="705" y="78"/>
                  </a:cubicBezTo>
                  <a:cubicBezTo>
                    <a:pt x="654" y="78"/>
                    <a:pt x="603" y="90"/>
                    <a:pt x="551" y="113"/>
                  </a:cubicBezTo>
                  <a:cubicBezTo>
                    <a:pt x="551" y="775"/>
                    <a:pt x="551" y="775"/>
                    <a:pt x="551" y="775"/>
                  </a:cubicBezTo>
                  <a:cubicBezTo>
                    <a:pt x="422" y="775"/>
                    <a:pt x="422" y="775"/>
                    <a:pt x="422" y="775"/>
                  </a:cubicBezTo>
                  <a:cubicBezTo>
                    <a:pt x="422" y="314"/>
                    <a:pt x="422" y="314"/>
                    <a:pt x="422" y="314"/>
                  </a:cubicBezTo>
                  <a:cubicBezTo>
                    <a:pt x="422" y="229"/>
                    <a:pt x="415" y="171"/>
                    <a:pt x="401" y="141"/>
                  </a:cubicBezTo>
                  <a:cubicBezTo>
                    <a:pt x="382" y="99"/>
                    <a:pt x="341" y="78"/>
                    <a:pt x="278" y="78"/>
                  </a:cubicBezTo>
                  <a:cubicBezTo>
                    <a:pt x="231" y="78"/>
                    <a:pt x="181" y="83"/>
                    <a:pt x="128" y="94"/>
                  </a:cubicBezTo>
                  <a:cubicBezTo>
                    <a:pt x="128" y="775"/>
                    <a:pt x="128" y="775"/>
                    <a:pt x="128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8"/>
            <p:cNvSpPr>
              <a:spLocks noEditPoints="1"/>
            </p:cNvSpPr>
            <p:nvPr/>
          </p:nvSpPr>
          <p:spPr bwMode="gray">
            <a:xfrm>
              <a:off x="4394200" y="4124325"/>
              <a:ext cx="201613" cy="252413"/>
            </a:xfrm>
            <a:custGeom>
              <a:avLst/>
              <a:gdLst/>
              <a:ahLst/>
              <a:cxnLst>
                <a:cxn ang="0">
                  <a:pos x="318" y="0"/>
                </a:cxn>
                <a:cxn ang="0">
                  <a:pos x="559" y="107"/>
                </a:cxn>
                <a:cxn ang="0">
                  <a:pos x="635" y="398"/>
                </a:cxn>
                <a:cxn ang="0">
                  <a:pos x="559" y="688"/>
                </a:cxn>
                <a:cxn ang="0">
                  <a:pos x="319" y="795"/>
                </a:cxn>
                <a:cxn ang="0">
                  <a:pos x="0" y="393"/>
                </a:cxn>
                <a:cxn ang="0">
                  <a:pos x="77" y="107"/>
                </a:cxn>
                <a:cxn ang="0">
                  <a:pos x="318" y="0"/>
                </a:cxn>
                <a:cxn ang="0">
                  <a:pos x="318" y="78"/>
                </a:cxn>
                <a:cxn ang="0">
                  <a:pos x="167" y="176"/>
                </a:cxn>
                <a:cxn ang="0">
                  <a:pos x="132" y="394"/>
                </a:cxn>
                <a:cxn ang="0">
                  <a:pos x="167" y="619"/>
                </a:cxn>
                <a:cxn ang="0">
                  <a:pos x="318" y="718"/>
                </a:cxn>
                <a:cxn ang="0">
                  <a:pos x="468" y="619"/>
                </a:cxn>
                <a:cxn ang="0">
                  <a:pos x="503" y="398"/>
                </a:cxn>
                <a:cxn ang="0">
                  <a:pos x="468" y="176"/>
                </a:cxn>
                <a:cxn ang="0">
                  <a:pos x="318" y="78"/>
                </a:cxn>
              </a:cxnLst>
              <a:rect l="0" t="0" r="r" b="b"/>
              <a:pathLst>
                <a:path w="635" h="795">
                  <a:moveTo>
                    <a:pt x="318" y="0"/>
                  </a:moveTo>
                  <a:cubicBezTo>
                    <a:pt x="426" y="0"/>
                    <a:pt x="506" y="36"/>
                    <a:pt x="559" y="107"/>
                  </a:cubicBezTo>
                  <a:cubicBezTo>
                    <a:pt x="609" y="176"/>
                    <a:pt x="635" y="273"/>
                    <a:pt x="635" y="398"/>
                  </a:cubicBezTo>
                  <a:cubicBezTo>
                    <a:pt x="635" y="521"/>
                    <a:pt x="609" y="618"/>
                    <a:pt x="559" y="688"/>
                  </a:cubicBezTo>
                  <a:cubicBezTo>
                    <a:pt x="507" y="760"/>
                    <a:pt x="427" y="795"/>
                    <a:pt x="319" y="795"/>
                  </a:cubicBezTo>
                  <a:cubicBezTo>
                    <a:pt x="107" y="795"/>
                    <a:pt x="0" y="661"/>
                    <a:pt x="0" y="393"/>
                  </a:cubicBezTo>
                  <a:cubicBezTo>
                    <a:pt x="0" y="271"/>
                    <a:pt x="26" y="176"/>
                    <a:pt x="77" y="107"/>
                  </a:cubicBezTo>
                  <a:cubicBezTo>
                    <a:pt x="129" y="36"/>
                    <a:pt x="209" y="0"/>
                    <a:pt x="318" y="0"/>
                  </a:cubicBezTo>
                  <a:moveTo>
                    <a:pt x="318" y="78"/>
                  </a:moveTo>
                  <a:cubicBezTo>
                    <a:pt x="245" y="78"/>
                    <a:pt x="194" y="110"/>
                    <a:pt x="167" y="176"/>
                  </a:cubicBezTo>
                  <a:cubicBezTo>
                    <a:pt x="144" y="230"/>
                    <a:pt x="132" y="303"/>
                    <a:pt x="132" y="394"/>
                  </a:cubicBezTo>
                  <a:cubicBezTo>
                    <a:pt x="132" y="490"/>
                    <a:pt x="144" y="565"/>
                    <a:pt x="167" y="619"/>
                  </a:cubicBezTo>
                  <a:cubicBezTo>
                    <a:pt x="194" y="685"/>
                    <a:pt x="245" y="718"/>
                    <a:pt x="318" y="718"/>
                  </a:cubicBezTo>
                  <a:cubicBezTo>
                    <a:pt x="391" y="718"/>
                    <a:pt x="441" y="685"/>
                    <a:pt x="468" y="619"/>
                  </a:cubicBezTo>
                  <a:cubicBezTo>
                    <a:pt x="491" y="565"/>
                    <a:pt x="503" y="491"/>
                    <a:pt x="503" y="398"/>
                  </a:cubicBezTo>
                  <a:cubicBezTo>
                    <a:pt x="503" y="302"/>
                    <a:pt x="491" y="228"/>
                    <a:pt x="468" y="176"/>
                  </a:cubicBezTo>
                  <a:cubicBezTo>
                    <a:pt x="440" y="110"/>
                    <a:pt x="390" y="78"/>
                    <a:pt x="318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19"/>
            <p:cNvSpPr>
              <a:spLocks/>
            </p:cNvSpPr>
            <p:nvPr/>
          </p:nvSpPr>
          <p:spPr bwMode="gray">
            <a:xfrm>
              <a:off x="4657725" y="4124325"/>
              <a:ext cx="103188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3"/>
                </a:cxn>
                <a:cxn ang="0">
                  <a:pos x="326" y="0"/>
                </a:cxn>
                <a:cxn ang="0">
                  <a:pos x="326" y="81"/>
                </a:cxn>
                <a:cxn ang="0">
                  <a:pos x="129" y="94"/>
                </a:cxn>
                <a:cxn ang="0">
                  <a:pos x="129" y="775"/>
                </a:cxn>
                <a:cxn ang="0">
                  <a:pos x="0" y="775"/>
                </a:cxn>
              </a:cxnLst>
              <a:rect l="0" t="0" r="r" b="b"/>
              <a:pathLst>
                <a:path w="326" h="775">
                  <a:moveTo>
                    <a:pt x="0" y="775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99" y="12"/>
                    <a:pt x="207" y="1"/>
                    <a:pt x="326" y="0"/>
                  </a:cubicBezTo>
                  <a:cubicBezTo>
                    <a:pt x="326" y="81"/>
                    <a:pt x="326" y="81"/>
                    <a:pt x="326" y="81"/>
                  </a:cubicBezTo>
                  <a:cubicBezTo>
                    <a:pt x="254" y="81"/>
                    <a:pt x="188" y="86"/>
                    <a:pt x="129" y="94"/>
                  </a:cubicBezTo>
                  <a:cubicBezTo>
                    <a:pt x="129" y="775"/>
                    <a:pt x="129" y="775"/>
                    <a:pt x="129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0"/>
            <p:cNvSpPr>
              <a:spLocks/>
            </p:cNvSpPr>
            <p:nvPr/>
          </p:nvSpPr>
          <p:spPr bwMode="gray">
            <a:xfrm>
              <a:off x="4806950" y="4124325"/>
              <a:ext cx="103188" cy="246063"/>
            </a:xfrm>
            <a:custGeom>
              <a:avLst/>
              <a:gdLst/>
              <a:ahLst/>
              <a:cxnLst>
                <a:cxn ang="0">
                  <a:pos x="0" y="775"/>
                </a:cxn>
                <a:cxn ang="0">
                  <a:pos x="0" y="33"/>
                </a:cxn>
                <a:cxn ang="0">
                  <a:pos x="326" y="0"/>
                </a:cxn>
                <a:cxn ang="0">
                  <a:pos x="326" y="81"/>
                </a:cxn>
                <a:cxn ang="0">
                  <a:pos x="129" y="94"/>
                </a:cxn>
                <a:cxn ang="0">
                  <a:pos x="129" y="775"/>
                </a:cxn>
                <a:cxn ang="0">
                  <a:pos x="0" y="775"/>
                </a:cxn>
              </a:cxnLst>
              <a:rect l="0" t="0" r="r" b="b"/>
              <a:pathLst>
                <a:path w="326" h="775">
                  <a:moveTo>
                    <a:pt x="0" y="775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99" y="12"/>
                    <a:pt x="207" y="1"/>
                    <a:pt x="326" y="0"/>
                  </a:cubicBezTo>
                  <a:cubicBezTo>
                    <a:pt x="326" y="81"/>
                    <a:pt x="326" y="81"/>
                    <a:pt x="326" y="81"/>
                  </a:cubicBezTo>
                  <a:cubicBezTo>
                    <a:pt x="253" y="81"/>
                    <a:pt x="188" y="86"/>
                    <a:pt x="129" y="94"/>
                  </a:cubicBezTo>
                  <a:cubicBezTo>
                    <a:pt x="129" y="775"/>
                    <a:pt x="129" y="775"/>
                    <a:pt x="129" y="775"/>
                  </a:cubicBezTo>
                  <a:lnTo>
                    <a:pt x="0" y="7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1"/>
            <p:cNvSpPr>
              <a:spLocks noEditPoints="1"/>
            </p:cNvSpPr>
            <p:nvPr/>
          </p:nvSpPr>
          <p:spPr bwMode="gray">
            <a:xfrm>
              <a:off x="4937125" y="4124325"/>
              <a:ext cx="201613" cy="252413"/>
            </a:xfrm>
            <a:custGeom>
              <a:avLst/>
              <a:gdLst/>
              <a:ahLst/>
              <a:cxnLst>
                <a:cxn ang="0">
                  <a:pos x="317" y="0"/>
                </a:cxn>
                <a:cxn ang="0">
                  <a:pos x="558" y="107"/>
                </a:cxn>
                <a:cxn ang="0">
                  <a:pos x="634" y="398"/>
                </a:cxn>
                <a:cxn ang="0">
                  <a:pos x="558" y="688"/>
                </a:cxn>
                <a:cxn ang="0">
                  <a:pos x="318" y="795"/>
                </a:cxn>
                <a:cxn ang="0">
                  <a:pos x="0" y="393"/>
                </a:cxn>
                <a:cxn ang="0">
                  <a:pos x="76" y="107"/>
                </a:cxn>
                <a:cxn ang="0">
                  <a:pos x="317" y="0"/>
                </a:cxn>
                <a:cxn ang="0">
                  <a:pos x="317" y="78"/>
                </a:cxn>
                <a:cxn ang="0">
                  <a:pos x="166" y="176"/>
                </a:cxn>
                <a:cxn ang="0">
                  <a:pos x="132" y="394"/>
                </a:cxn>
                <a:cxn ang="0">
                  <a:pos x="166" y="619"/>
                </a:cxn>
                <a:cxn ang="0">
                  <a:pos x="317" y="718"/>
                </a:cxn>
                <a:cxn ang="0">
                  <a:pos x="468" y="619"/>
                </a:cxn>
                <a:cxn ang="0">
                  <a:pos x="502" y="398"/>
                </a:cxn>
                <a:cxn ang="0">
                  <a:pos x="468" y="176"/>
                </a:cxn>
                <a:cxn ang="0">
                  <a:pos x="317" y="78"/>
                </a:cxn>
              </a:cxnLst>
              <a:rect l="0" t="0" r="r" b="b"/>
              <a:pathLst>
                <a:path w="634" h="795">
                  <a:moveTo>
                    <a:pt x="317" y="0"/>
                  </a:moveTo>
                  <a:cubicBezTo>
                    <a:pt x="425" y="0"/>
                    <a:pt x="505" y="36"/>
                    <a:pt x="558" y="107"/>
                  </a:cubicBezTo>
                  <a:cubicBezTo>
                    <a:pt x="608" y="176"/>
                    <a:pt x="634" y="273"/>
                    <a:pt x="634" y="398"/>
                  </a:cubicBezTo>
                  <a:cubicBezTo>
                    <a:pt x="634" y="521"/>
                    <a:pt x="608" y="618"/>
                    <a:pt x="558" y="688"/>
                  </a:cubicBezTo>
                  <a:cubicBezTo>
                    <a:pt x="506" y="760"/>
                    <a:pt x="426" y="795"/>
                    <a:pt x="318" y="795"/>
                  </a:cubicBezTo>
                  <a:cubicBezTo>
                    <a:pt x="106" y="795"/>
                    <a:pt x="0" y="661"/>
                    <a:pt x="0" y="393"/>
                  </a:cubicBezTo>
                  <a:cubicBezTo>
                    <a:pt x="0" y="271"/>
                    <a:pt x="25" y="176"/>
                    <a:pt x="76" y="107"/>
                  </a:cubicBezTo>
                  <a:cubicBezTo>
                    <a:pt x="128" y="36"/>
                    <a:pt x="209" y="0"/>
                    <a:pt x="317" y="0"/>
                  </a:cubicBezTo>
                  <a:moveTo>
                    <a:pt x="317" y="78"/>
                  </a:moveTo>
                  <a:cubicBezTo>
                    <a:pt x="244" y="78"/>
                    <a:pt x="194" y="110"/>
                    <a:pt x="166" y="176"/>
                  </a:cubicBezTo>
                  <a:cubicBezTo>
                    <a:pt x="143" y="230"/>
                    <a:pt x="132" y="303"/>
                    <a:pt x="132" y="394"/>
                  </a:cubicBezTo>
                  <a:cubicBezTo>
                    <a:pt x="132" y="490"/>
                    <a:pt x="143" y="565"/>
                    <a:pt x="166" y="619"/>
                  </a:cubicBezTo>
                  <a:cubicBezTo>
                    <a:pt x="194" y="685"/>
                    <a:pt x="244" y="718"/>
                    <a:pt x="317" y="718"/>
                  </a:cubicBezTo>
                  <a:cubicBezTo>
                    <a:pt x="390" y="718"/>
                    <a:pt x="440" y="685"/>
                    <a:pt x="468" y="619"/>
                  </a:cubicBezTo>
                  <a:cubicBezTo>
                    <a:pt x="490" y="565"/>
                    <a:pt x="502" y="491"/>
                    <a:pt x="502" y="398"/>
                  </a:cubicBezTo>
                  <a:cubicBezTo>
                    <a:pt x="502" y="302"/>
                    <a:pt x="490" y="228"/>
                    <a:pt x="468" y="176"/>
                  </a:cubicBezTo>
                  <a:cubicBezTo>
                    <a:pt x="439" y="110"/>
                    <a:pt x="389" y="78"/>
                    <a:pt x="317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2"/>
            <p:cNvSpPr>
              <a:spLocks/>
            </p:cNvSpPr>
            <p:nvPr/>
          </p:nvSpPr>
          <p:spPr bwMode="gray">
            <a:xfrm>
              <a:off x="5164138" y="4130675"/>
              <a:ext cx="309563" cy="239713"/>
            </a:xfrm>
            <a:custGeom>
              <a:avLst/>
              <a:gdLst/>
              <a:ahLst/>
              <a:cxnLst>
                <a:cxn ang="0">
                  <a:pos x="213" y="754"/>
                </a:cxn>
                <a:cxn ang="0">
                  <a:pos x="0" y="0"/>
                </a:cxn>
                <a:cxn ang="0">
                  <a:pos x="130" y="0"/>
                </a:cxn>
                <a:cxn ang="0">
                  <a:pos x="290" y="614"/>
                </a:cxn>
                <a:cxn ang="0">
                  <a:pos x="431" y="0"/>
                </a:cxn>
                <a:cxn ang="0">
                  <a:pos x="558" y="0"/>
                </a:cxn>
                <a:cxn ang="0">
                  <a:pos x="706" y="614"/>
                </a:cxn>
                <a:cxn ang="0">
                  <a:pos x="866" y="0"/>
                </a:cxn>
                <a:cxn ang="0">
                  <a:pos x="971" y="0"/>
                </a:cxn>
                <a:cxn ang="0">
                  <a:pos x="758" y="754"/>
                </a:cxn>
                <a:cxn ang="0">
                  <a:pos x="631" y="754"/>
                </a:cxn>
                <a:cxn ang="0">
                  <a:pos x="517" y="266"/>
                </a:cxn>
                <a:cxn ang="0">
                  <a:pos x="489" y="112"/>
                </a:cxn>
                <a:cxn ang="0">
                  <a:pos x="460" y="265"/>
                </a:cxn>
                <a:cxn ang="0">
                  <a:pos x="347" y="754"/>
                </a:cxn>
                <a:cxn ang="0">
                  <a:pos x="213" y="754"/>
                </a:cxn>
              </a:cxnLst>
              <a:rect l="0" t="0" r="r" b="b"/>
              <a:pathLst>
                <a:path w="971" h="754">
                  <a:moveTo>
                    <a:pt x="213" y="75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290" y="614"/>
                    <a:pt x="290" y="614"/>
                    <a:pt x="290" y="614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558" y="0"/>
                    <a:pt x="558" y="0"/>
                    <a:pt x="558" y="0"/>
                  </a:cubicBezTo>
                  <a:cubicBezTo>
                    <a:pt x="706" y="614"/>
                    <a:pt x="706" y="614"/>
                    <a:pt x="706" y="614"/>
                  </a:cubicBezTo>
                  <a:cubicBezTo>
                    <a:pt x="866" y="0"/>
                    <a:pt x="866" y="0"/>
                    <a:pt x="866" y="0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758" y="754"/>
                    <a:pt x="758" y="754"/>
                    <a:pt x="758" y="754"/>
                  </a:cubicBezTo>
                  <a:cubicBezTo>
                    <a:pt x="631" y="754"/>
                    <a:pt x="631" y="754"/>
                    <a:pt x="631" y="754"/>
                  </a:cubicBezTo>
                  <a:cubicBezTo>
                    <a:pt x="517" y="266"/>
                    <a:pt x="517" y="266"/>
                    <a:pt x="517" y="266"/>
                  </a:cubicBezTo>
                  <a:cubicBezTo>
                    <a:pt x="509" y="231"/>
                    <a:pt x="500" y="180"/>
                    <a:pt x="489" y="112"/>
                  </a:cubicBezTo>
                  <a:cubicBezTo>
                    <a:pt x="481" y="166"/>
                    <a:pt x="471" y="217"/>
                    <a:pt x="460" y="265"/>
                  </a:cubicBezTo>
                  <a:cubicBezTo>
                    <a:pt x="347" y="754"/>
                    <a:pt x="347" y="754"/>
                    <a:pt x="347" y="754"/>
                  </a:cubicBezTo>
                  <a:lnTo>
                    <a:pt x="213" y="75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23"/>
            <p:cNvSpPr>
              <a:spLocks/>
            </p:cNvSpPr>
            <p:nvPr/>
          </p:nvSpPr>
          <p:spPr bwMode="gray">
            <a:xfrm>
              <a:off x="5595938" y="4130675"/>
              <a:ext cx="307975" cy="239713"/>
            </a:xfrm>
            <a:custGeom>
              <a:avLst/>
              <a:gdLst/>
              <a:ahLst/>
              <a:cxnLst>
                <a:cxn ang="0">
                  <a:pos x="213" y="754"/>
                </a:cxn>
                <a:cxn ang="0">
                  <a:pos x="0" y="0"/>
                </a:cxn>
                <a:cxn ang="0">
                  <a:pos x="130" y="0"/>
                </a:cxn>
                <a:cxn ang="0">
                  <a:pos x="290" y="614"/>
                </a:cxn>
                <a:cxn ang="0">
                  <a:pos x="431" y="0"/>
                </a:cxn>
                <a:cxn ang="0">
                  <a:pos x="559" y="0"/>
                </a:cxn>
                <a:cxn ang="0">
                  <a:pos x="706" y="614"/>
                </a:cxn>
                <a:cxn ang="0">
                  <a:pos x="866" y="0"/>
                </a:cxn>
                <a:cxn ang="0">
                  <a:pos x="971" y="0"/>
                </a:cxn>
                <a:cxn ang="0">
                  <a:pos x="758" y="754"/>
                </a:cxn>
                <a:cxn ang="0">
                  <a:pos x="631" y="754"/>
                </a:cxn>
                <a:cxn ang="0">
                  <a:pos x="518" y="266"/>
                </a:cxn>
                <a:cxn ang="0">
                  <a:pos x="489" y="112"/>
                </a:cxn>
                <a:cxn ang="0">
                  <a:pos x="460" y="265"/>
                </a:cxn>
                <a:cxn ang="0">
                  <a:pos x="347" y="754"/>
                </a:cxn>
                <a:cxn ang="0">
                  <a:pos x="213" y="754"/>
                </a:cxn>
              </a:cxnLst>
              <a:rect l="0" t="0" r="r" b="b"/>
              <a:pathLst>
                <a:path w="971" h="754">
                  <a:moveTo>
                    <a:pt x="213" y="75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290" y="614"/>
                    <a:pt x="290" y="614"/>
                    <a:pt x="290" y="614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559" y="0"/>
                    <a:pt x="559" y="0"/>
                    <a:pt x="559" y="0"/>
                  </a:cubicBezTo>
                  <a:cubicBezTo>
                    <a:pt x="706" y="614"/>
                    <a:pt x="706" y="614"/>
                    <a:pt x="706" y="614"/>
                  </a:cubicBezTo>
                  <a:cubicBezTo>
                    <a:pt x="866" y="0"/>
                    <a:pt x="866" y="0"/>
                    <a:pt x="866" y="0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758" y="754"/>
                    <a:pt x="758" y="754"/>
                    <a:pt x="758" y="754"/>
                  </a:cubicBezTo>
                  <a:cubicBezTo>
                    <a:pt x="631" y="754"/>
                    <a:pt x="631" y="754"/>
                    <a:pt x="631" y="754"/>
                  </a:cubicBezTo>
                  <a:cubicBezTo>
                    <a:pt x="518" y="266"/>
                    <a:pt x="518" y="266"/>
                    <a:pt x="518" y="266"/>
                  </a:cubicBezTo>
                  <a:cubicBezTo>
                    <a:pt x="510" y="231"/>
                    <a:pt x="500" y="180"/>
                    <a:pt x="489" y="112"/>
                  </a:cubicBezTo>
                  <a:cubicBezTo>
                    <a:pt x="481" y="166"/>
                    <a:pt x="471" y="217"/>
                    <a:pt x="460" y="265"/>
                  </a:cubicBezTo>
                  <a:cubicBezTo>
                    <a:pt x="347" y="754"/>
                    <a:pt x="347" y="754"/>
                    <a:pt x="347" y="754"/>
                  </a:cubicBezTo>
                  <a:lnTo>
                    <a:pt x="213" y="75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24"/>
            <p:cNvSpPr>
              <a:spLocks noEditPoints="1"/>
            </p:cNvSpPr>
            <p:nvPr/>
          </p:nvSpPr>
          <p:spPr bwMode="gray">
            <a:xfrm>
              <a:off x="5945188" y="4043363"/>
              <a:ext cx="49213" cy="327025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137" y="26"/>
                </a:cxn>
                <a:cxn ang="0">
                  <a:pos x="157" y="79"/>
                </a:cxn>
                <a:cxn ang="0">
                  <a:pos x="132" y="139"/>
                </a:cxn>
                <a:cxn ang="0">
                  <a:pos x="78" y="159"/>
                </a:cxn>
                <a:cxn ang="0">
                  <a:pos x="20" y="133"/>
                </a:cxn>
                <a:cxn ang="0">
                  <a:pos x="0" y="78"/>
                </a:cxn>
                <a:cxn ang="0">
                  <a:pos x="26" y="20"/>
                </a:cxn>
                <a:cxn ang="0">
                  <a:pos x="79" y="0"/>
                </a:cxn>
                <a:cxn ang="0">
                  <a:pos x="16" y="277"/>
                </a:cxn>
                <a:cxn ang="0">
                  <a:pos x="144" y="277"/>
                </a:cxn>
                <a:cxn ang="0">
                  <a:pos x="144" y="1031"/>
                </a:cxn>
                <a:cxn ang="0">
                  <a:pos x="16" y="1031"/>
                </a:cxn>
                <a:cxn ang="0">
                  <a:pos x="16" y="277"/>
                </a:cxn>
              </a:cxnLst>
              <a:rect l="0" t="0" r="r" b="b"/>
              <a:pathLst>
                <a:path w="157" h="1031">
                  <a:moveTo>
                    <a:pt x="79" y="0"/>
                  </a:moveTo>
                  <a:cubicBezTo>
                    <a:pt x="102" y="0"/>
                    <a:pt x="122" y="9"/>
                    <a:pt x="137" y="26"/>
                  </a:cubicBezTo>
                  <a:cubicBezTo>
                    <a:pt x="151" y="42"/>
                    <a:pt x="157" y="59"/>
                    <a:pt x="157" y="79"/>
                  </a:cubicBezTo>
                  <a:cubicBezTo>
                    <a:pt x="157" y="103"/>
                    <a:pt x="149" y="123"/>
                    <a:pt x="132" y="139"/>
                  </a:cubicBezTo>
                  <a:cubicBezTo>
                    <a:pt x="117" y="152"/>
                    <a:pt x="99" y="159"/>
                    <a:pt x="78" y="159"/>
                  </a:cubicBezTo>
                  <a:cubicBezTo>
                    <a:pt x="55" y="159"/>
                    <a:pt x="35" y="150"/>
                    <a:pt x="20" y="133"/>
                  </a:cubicBezTo>
                  <a:cubicBezTo>
                    <a:pt x="6" y="118"/>
                    <a:pt x="0" y="99"/>
                    <a:pt x="0" y="78"/>
                  </a:cubicBezTo>
                  <a:cubicBezTo>
                    <a:pt x="0" y="56"/>
                    <a:pt x="9" y="37"/>
                    <a:pt x="26" y="20"/>
                  </a:cubicBezTo>
                  <a:cubicBezTo>
                    <a:pt x="41" y="7"/>
                    <a:pt x="58" y="0"/>
                    <a:pt x="79" y="0"/>
                  </a:cubicBezTo>
                  <a:moveTo>
                    <a:pt x="16" y="277"/>
                  </a:moveTo>
                  <a:cubicBezTo>
                    <a:pt x="144" y="277"/>
                    <a:pt x="144" y="277"/>
                    <a:pt x="144" y="277"/>
                  </a:cubicBezTo>
                  <a:cubicBezTo>
                    <a:pt x="144" y="1031"/>
                    <a:pt x="144" y="1031"/>
                    <a:pt x="144" y="1031"/>
                  </a:cubicBezTo>
                  <a:cubicBezTo>
                    <a:pt x="16" y="1031"/>
                    <a:pt x="16" y="1031"/>
                    <a:pt x="16" y="1031"/>
                  </a:cubicBezTo>
                  <a:lnTo>
                    <a:pt x="16" y="27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25"/>
            <p:cNvSpPr>
              <a:spLocks/>
            </p:cNvSpPr>
            <p:nvPr/>
          </p:nvSpPr>
          <p:spPr bwMode="gray">
            <a:xfrm>
              <a:off x="6064250" y="4065588"/>
              <a:ext cx="106363" cy="3048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9" y="0"/>
                </a:cxn>
                <a:cxn ang="0">
                  <a:pos x="129" y="204"/>
                </a:cxn>
                <a:cxn ang="0">
                  <a:pos x="332" y="204"/>
                </a:cxn>
                <a:cxn ang="0">
                  <a:pos x="332" y="286"/>
                </a:cxn>
                <a:cxn ang="0">
                  <a:pos x="129" y="286"/>
                </a:cxn>
                <a:cxn ang="0">
                  <a:pos x="129" y="686"/>
                </a:cxn>
                <a:cxn ang="0">
                  <a:pos x="163" y="840"/>
                </a:cxn>
                <a:cxn ang="0">
                  <a:pos x="234" y="873"/>
                </a:cxn>
                <a:cxn ang="0">
                  <a:pos x="289" y="875"/>
                </a:cxn>
                <a:cxn ang="0">
                  <a:pos x="332" y="875"/>
                </a:cxn>
                <a:cxn ang="0">
                  <a:pos x="332" y="958"/>
                </a:cxn>
                <a:cxn ang="0">
                  <a:pos x="262" y="958"/>
                </a:cxn>
                <a:cxn ang="0">
                  <a:pos x="132" y="945"/>
                </a:cxn>
                <a:cxn ang="0">
                  <a:pos x="11" y="817"/>
                </a:cxn>
                <a:cxn ang="0">
                  <a:pos x="0" y="667"/>
                </a:cxn>
                <a:cxn ang="0">
                  <a:pos x="0" y="0"/>
                </a:cxn>
              </a:cxnLst>
              <a:rect l="0" t="0" r="r" b="b"/>
              <a:pathLst>
                <a:path w="332" h="958">
                  <a:moveTo>
                    <a:pt x="0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9" y="204"/>
                    <a:pt x="129" y="204"/>
                    <a:pt x="129" y="204"/>
                  </a:cubicBezTo>
                  <a:cubicBezTo>
                    <a:pt x="332" y="204"/>
                    <a:pt x="332" y="204"/>
                    <a:pt x="332" y="204"/>
                  </a:cubicBezTo>
                  <a:cubicBezTo>
                    <a:pt x="332" y="286"/>
                    <a:pt x="332" y="286"/>
                    <a:pt x="332" y="286"/>
                  </a:cubicBezTo>
                  <a:cubicBezTo>
                    <a:pt x="129" y="286"/>
                    <a:pt x="129" y="286"/>
                    <a:pt x="129" y="286"/>
                  </a:cubicBezTo>
                  <a:cubicBezTo>
                    <a:pt x="129" y="686"/>
                    <a:pt x="129" y="686"/>
                    <a:pt x="129" y="686"/>
                  </a:cubicBezTo>
                  <a:cubicBezTo>
                    <a:pt x="129" y="762"/>
                    <a:pt x="140" y="813"/>
                    <a:pt x="163" y="840"/>
                  </a:cubicBezTo>
                  <a:cubicBezTo>
                    <a:pt x="178" y="858"/>
                    <a:pt x="202" y="869"/>
                    <a:pt x="234" y="873"/>
                  </a:cubicBezTo>
                  <a:cubicBezTo>
                    <a:pt x="245" y="875"/>
                    <a:pt x="263" y="875"/>
                    <a:pt x="289" y="875"/>
                  </a:cubicBezTo>
                  <a:cubicBezTo>
                    <a:pt x="332" y="875"/>
                    <a:pt x="332" y="875"/>
                    <a:pt x="332" y="875"/>
                  </a:cubicBezTo>
                  <a:cubicBezTo>
                    <a:pt x="332" y="958"/>
                    <a:pt x="332" y="958"/>
                    <a:pt x="332" y="958"/>
                  </a:cubicBezTo>
                  <a:cubicBezTo>
                    <a:pt x="262" y="958"/>
                    <a:pt x="262" y="958"/>
                    <a:pt x="262" y="958"/>
                  </a:cubicBezTo>
                  <a:cubicBezTo>
                    <a:pt x="207" y="958"/>
                    <a:pt x="163" y="953"/>
                    <a:pt x="132" y="945"/>
                  </a:cubicBezTo>
                  <a:cubicBezTo>
                    <a:pt x="66" y="927"/>
                    <a:pt x="26" y="884"/>
                    <a:pt x="11" y="817"/>
                  </a:cubicBezTo>
                  <a:cubicBezTo>
                    <a:pt x="4" y="781"/>
                    <a:pt x="0" y="731"/>
                    <a:pt x="0" y="6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26"/>
            <p:cNvSpPr>
              <a:spLocks/>
            </p:cNvSpPr>
            <p:nvPr/>
          </p:nvSpPr>
          <p:spPr bwMode="gray">
            <a:xfrm>
              <a:off x="6219825" y="4010025"/>
              <a:ext cx="180975" cy="360363"/>
            </a:xfrm>
            <a:custGeom>
              <a:avLst/>
              <a:gdLst/>
              <a:ahLst/>
              <a:cxnLst>
                <a:cxn ang="0">
                  <a:pos x="0" y="1136"/>
                </a:cxn>
                <a:cxn ang="0">
                  <a:pos x="0" y="0"/>
                </a:cxn>
                <a:cxn ang="0">
                  <a:pos x="129" y="0"/>
                </a:cxn>
                <a:cxn ang="0">
                  <a:pos x="129" y="400"/>
                </a:cxn>
                <a:cxn ang="0">
                  <a:pos x="319" y="361"/>
                </a:cxn>
                <a:cxn ang="0">
                  <a:pos x="549" y="479"/>
                </a:cxn>
                <a:cxn ang="0">
                  <a:pos x="572" y="673"/>
                </a:cxn>
                <a:cxn ang="0">
                  <a:pos x="572" y="1136"/>
                </a:cxn>
                <a:cxn ang="0">
                  <a:pos x="443" y="1136"/>
                </a:cxn>
                <a:cxn ang="0">
                  <a:pos x="443" y="653"/>
                </a:cxn>
                <a:cxn ang="0">
                  <a:pos x="420" y="499"/>
                </a:cxn>
                <a:cxn ang="0">
                  <a:pos x="306" y="439"/>
                </a:cxn>
                <a:cxn ang="0">
                  <a:pos x="129" y="485"/>
                </a:cxn>
                <a:cxn ang="0">
                  <a:pos x="129" y="1136"/>
                </a:cxn>
                <a:cxn ang="0">
                  <a:pos x="0" y="1136"/>
                </a:cxn>
              </a:cxnLst>
              <a:rect l="0" t="0" r="r" b="b"/>
              <a:pathLst>
                <a:path w="572" h="1136">
                  <a:moveTo>
                    <a:pt x="0" y="113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00"/>
                    <a:pt x="129" y="400"/>
                    <a:pt x="129" y="400"/>
                  </a:cubicBezTo>
                  <a:cubicBezTo>
                    <a:pt x="196" y="374"/>
                    <a:pt x="259" y="361"/>
                    <a:pt x="319" y="361"/>
                  </a:cubicBezTo>
                  <a:cubicBezTo>
                    <a:pt x="438" y="361"/>
                    <a:pt x="515" y="400"/>
                    <a:pt x="549" y="479"/>
                  </a:cubicBezTo>
                  <a:cubicBezTo>
                    <a:pt x="564" y="515"/>
                    <a:pt x="572" y="579"/>
                    <a:pt x="572" y="673"/>
                  </a:cubicBezTo>
                  <a:cubicBezTo>
                    <a:pt x="572" y="1136"/>
                    <a:pt x="572" y="1136"/>
                    <a:pt x="572" y="1136"/>
                  </a:cubicBezTo>
                  <a:cubicBezTo>
                    <a:pt x="443" y="1136"/>
                    <a:pt x="443" y="1136"/>
                    <a:pt x="443" y="1136"/>
                  </a:cubicBezTo>
                  <a:cubicBezTo>
                    <a:pt x="443" y="653"/>
                    <a:pt x="443" y="653"/>
                    <a:pt x="443" y="653"/>
                  </a:cubicBezTo>
                  <a:cubicBezTo>
                    <a:pt x="443" y="581"/>
                    <a:pt x="436" y="529"/>
                    <a:pt x="420" y="499"/>
                  </a:cubicBezTo>
                  <a:cubicBezTo>
                    <a:pt x="400" y="459"/>
                    <a:pt x="362" y="439"/>
                    <a:pt x="306" y="439"/>
                  </a:cubicBezTo>
                  <a:cubicBezTo>
                    <a:pt x="256" y="439"/>
                    <a:pt x="197" y="454"/>
                    <a:pt x="129" y="485"/>
                  </a:cubicBezTo>
                  <a:cubicBezTo>
                    <a:pt x="129" y="1136"/>
                    <a:pt x="129" y="1136"/>
                    <a:pt x="129" y="1136"/>
                  </a:cubicBezTo>
                  <a:lnTo>
                    <a:pt x="0" y="113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27"/>
            <p:cNvSpPr>
              <a:spLocks/>
            </p:cNvSpPr>
            <p:nvPr/>
          </p:nvSpPr>
          <p:spPr bwMode="gray">
            <a:xfrm>
              <a:off x="6553200" y="4130675"/>
              <a:ext cx="200025" cy="354013"/>
            </a:xfrm>
            <a:custGeom>
              <a:avLst/>
              <a:gdLst/>
              <a:ahLst/>
              <a:cxnLst>
                <a:cxn ang="0">
                  <a:pos x="56" y="153"/>
                </a:cxn>
                <a:cxn ang="0">
                  <a:pos x="0" y="0"/>
                </a:cxn>
                <a:cxn ang="0">
                  <a:pos x="27" y="0"/>
                </a:cxn>
                <a:cxn ang="0">
                  <a:pos x="67" y="120"/>
                </a:cxn>
                <a:cxn ang="0">
                  <a:pos x="104" y="0"/>
                </a:cxn>
                <a:cxn ang="0">
                  <a:pos x="126" y="0"/>
                </a:cxn>
                <a:cxn ang="0">
                  <a:pos x="51" y="223"/>
                </a:cxn>
                <a:cxn ang="0">
                  <a:pos x="29" y="223"/>
                </a:cxn>
                <a:cxn ang="0">
                  <a:pos x="56" y="153"/>
                </a:cxn>
              </a:cxnLst>
              <a:rect l="0" t="0" r="r" b="b"/>
              <a:pathLst>
                <a:path w="126" h="223">
                  <a:moveTo>
                    <a:pt x="56" y="153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67" y="120"/>
                  </a:lnTo>
                  <a:lnTo>
                    <a:pt x="104" y="0"/>
                  </a:lnTo>
                  <a:lnTo>
                    <a:pt x="126" y="0"/>
                  </a:lnTo>
                  <a:lnTo>
                    <a:pt x="51" y="223"/>
                  </a:lnTo>
                  <a:lnTo>
                    <a:pt x="29" y="223"/>
                  </a:lnTo>
                  <a:lnTo>
                    <a:pt x="56" y="1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28"/>
            <p:cNvSpPr>
              <a:spLocks noEditPoints="1"/>
            </p:cNvSpPr>
            <p:nvPr/>
          </p:nvSpPr>
          <p:spPr bwMode="gray">
            <a:xfrm>
              <a:off x="6778625" y="4124325"/>
              <a:ext cx="201613" cy="252413"/>
            </a:xfrm>
            <a:custGeom>
              <a:avLst/>
              <a:gdLst/>
              <a:ahLst/>
              <a:cxnLst>
                <a:cxn ang="0">
                  <a:pos x="318" y="0"/>
                </a:cxn>
                <a:cxn ang="0">
                  <a:pos x="559" y="107"/>
                </a:cxn>
                <a:cxn ang="0">
                  <a:pos x="634" y="398"/>
                </a:cxn>
                <a:cxn ang="0">
                  <a:pos x="559" y="688"/>
                </a:cxn>
                <a:cxn ang="0">
                  <a:pos x="318" y="795"/>
                </a:cxn>
                <a:cxn ang="0">
                  <a:pos x="0" y="393"/>
                </a:cxn>
                <a:cxn ang="0">
                  <a:pos x="76" y="107"/>
                </a:cxn>
                <a:cxn ang="0">
                  <a:pos x="318" y="0"/>
                </a:cxn>
                <a:cxn ang="0">
                  <a:pos x="318" y="78"/>
                </a:cxn>
                <a:cxn ang="0">
                  <a:pos x="167" y="176"/>
                </a:cxn>
                <a:cxn ang="0">
                  <a:pos x="132" y="394"/>
                </a:cxn>
                <a:cxn ang="0">
                  <a:pos x="167" y="619"/>
                </a:cxn>
                <a:cxn ang="0">
                  <a:pos x="318" y="718"/>
                </a:cxn>
                <a:cxn ang="0">
                  <a:pos x="468" y="619"/>
                </a:cxn>
                <a:cxn ang="0">
                  <a:pos x="503" y="398"/>
                </a:cxn>
                <a:cxn ang="0">
                  <a:pos x="468" y="176"/>
                </a:cxn>
                <a:cxn ang="0">
                  <a:pos x="318" y="78"/>
                </a:cxn>
              </a:cxnLst>
              <a:rect l="0" t="0" r="r" b="b"/>
              <a:pathLst>
                <a:path w="634" h="795">
                  <a:moveTo>
                    <a:pt x="318" y="0"/>
                  </a:moveTo>
                  <a:cubicBezTo>
                    <a:pt x="426" y="0"/>
                    <a:pt x="506" y="36"/>
                    <a:pt x="559" y="107"/>
                  </a:cubicBezTo>
                  <a:cubicBezTo>
                    <a:pt x="609" y="176"/>
                    <a:pt x="634" y="273"/>
                    <a:pt x="634" y="398"/>
                  </a:cubicBezTo>
                  <a:cubicBezTo>
                    <a:pt x="634" y="521"/>
                    <a:pt x="609" y="618"/>
                    <a:pt x="559" y="688"/>
                  </a:cubicBezTo>
                  <a:cubicBezTo>
                    <a:pt x="507" y="760"/>
                    <a:pt x="427" y="795"/>
                    <a:pt x="318" y="795"/>
                  </a:cubicBezTo>
                  <a:cubicBezTo>
                    <a:pt x="106" y="795"/>
                    <a:pt x="0" y="661"/>
                    <a:pt x="0" y="393"/>
                  </a:cubicBezTo>
                  <a:cubicBezTo>
                    <a:pt x="0" y="271"/>
                    <a:pt x="26" y="176"/>
                    <a:pt x="76" y="107"/>
                  </a:cubicBezTo>
                  <a:cubicBezTo>
                    <a:pt x="129" y="36"/>
                    <a:pt x="210" y="0"/>
                    <a:pt x="318" y="0"/>
                  </a:cubicBezTo>
                  <a:moveTo>
                    <a:pt x="318" y="78"/>
                  </a:moveTo>
                  <a:cubicBezTo>
                    <a:pt x="245" y="78"/>
                    <a:pt x="194" y="110"/>
                    <a:pt x="167" y="176"/>
                  </a:cubicBezTo>
                  <a:cubicBezTo>
                    <a:pt x="144" y="230"/>
                    <a:pt x="132" y="303"/>
                    <a:pt x="132" y="394"/>
                  </a:cubicBezTo>
                  <a:cubicBezTo>
                    <a:pt x="132" y="490"/>
                    <a:pt x="144" y="565"/>
                    <a:pt x="167" y="619"/>
                  </a:cubicBezTo>
                  <a:cubicBezTo>
                    <a:pt x="194" y="685"/>
                    <a:pt x="245" y="718"/>
                    <a:pt x="318" y="718"/>
                  </a:cubicBezTo>
                  <a:cubicBezTo>
                    <a:pt x="391" y="718"/>
                    <a:pt x="441" y="685"/>
                    <a:pt x="468" y="619"/>
                  </a:cubicBezTo>
                  <a:cubicBezTo>
                    <a:pt x="491" y="565"/>
                    <a:pt x="503" y="491"/>
                    <a:pt x="503" y="398"/>
                  </a:cubicBezTo>
                  <a:cubicBezTo>
                    <a:pt x="503" y="302"/>
                    <a:pt x="491" y="228"/>
                    <a:pt x="468" y="176"/>
                  </a:cubicBezTo>
                  <a:cubicBezTo>
                    <a:pt x="440" y="110"/>
                    <a:pt x="390" y="78"/>
                    <a:pt x="318" y="78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29"/>
            <p:cNvSpPr>
              <a:spLocks/>
            </p:cNvSpPr>
            <p:nvPr/>
          </p:nvSpPr>
          <p:spPr bwMode="gray">
            <a:xfrm>
              <a:off x="7037388" y="4130675"/>
              <a:ext cx="174625" cy="2460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9" y="0"/>
                </a:cxn>
                <a:cxn ang="0">
                  <a:pos x="129" y="465"/>
                </a:cxn>
                <a:cxn ang="0">
                  <a:pos x="152" y="636"/>
                </a:cxn>
                <a:cxn ang="0">
                  <a:pos x="206" y="685"/>
                </a:cxn>
                <a:cxn ang="0">
                  <a:pos x="289" y="697"/>
                </a:cxn>
                <a:cxn ang="0">
                  <a:pos x="422" y="677"/>
                </a:cxn>
                <a:cxn ang="0">
                  <a:pos x="422" y="0"/>
                </a:cxn>
                <a:cxn ang="0">
                  <a:pos x="550" y="0"/>
                </a:cxn>
                <a:cxn ang="0">
                  <a:pos x="550" y="742"/>
                </a:cxn>
                <a:cxn ang="0">
                  <a:pos x="281" y="774"/>
                </a:cxn>
                <a:cxn ang="0">
                  <a:pos x="90" y="734"/>
                </a:cxn>
                <a:cxn ang="0">
                  <a:pos x="7" y="593"/>
                </a:cxn>
                <a:cxn ang="0">
                  <a:pos x="0" y="475"/>
                </a:cxn>
                <a:cxn ang="0">
                  <a:pos x="0" y="0"/>
                </a:cxn>
              </a:cxnLst>
              <a:rect l="0" t="0" r="r" b="b"/>
              <a:pathLst>
                <a:path w="550" h="774">
                  <a:moveTo>
                    <a:pt x="0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9" y="465"/>
                    <a:pt x="129" y="465"/>
                    <a:pt x="129" y="465"/>
                  </a:cubicBezTo>
                  <a:cubicBezTo>
                    <a:pt x="129" y="550"/>
                    <a:pt x="137" y="608"/>
                    <a:pt x="152" y="636"/>
                  </a:cubicBezTo>
                  <a:cubicBezTo>
                    <a:pt x="165" y="660"/>
                    <a:pt x="183" y="676"/>
                    <a:pt x="206" y="685"/>
                  </a:cubicBezTo>
                  <a:cubicBezTo>
                    <a:pt x="225" y="693"/>
                    <a:pt x="253" y="697"/>
                    <a:pt x="289" y="697"/>
                  </a:cubicBezTo>
                  <a:cubicBezTo>
                    <a:pt x="331" y="697"/>
                    <a:pt x="375" y="690"/>
                    <a:pt x="422" y="677"/>
                  </a:cubicBezTo>
                  <a:cubicBezTo>
                    <a:pt x="422" y="0"/>
                    <a:pt x="422" y="0"/>
                    <a:pt x="422" y="0"/>
                  </a:cubicBezTo>
                  <a:cubicBezTo>
                    <a:pt x="550" y="0"/>
                    <a:pt x="550" y="0"/>
                    <a:pt x="550" y="0"/>
                  </a:cubicBezTo>
                  <a:cubicBezTo>
                    <a:pt x="550" y="742"/>
                    <a:pt x="550" y="742"/>
                    <a:pt x="550" y="742"/>
                  </a:cubicBezTo>
                  <a:cubicBezTo>
                    <a:pt x="455" y="763"/>
                    <a:pt x="365" y="774"/>
                    <a:pt x="281" y="774"/>
                  </a:cubicBezTo>
                  <a:cubicBezTo>
                    <a:pt x="196" y="774"/>
                    <a:pt x="132" y="761"/>
                    <a:pt x="90" y="734"/>
                  </a:cubicBezTo>
                  <a:cubicBezTo>
                    <a:pt x="43" y="704"/>
                    <a:pt x="15" y="657"/>
                    <a:pt x="7" y="593"/>
                  </a:cubicBezTo>
                  <a:cubicBezTo>
                    <a:pt x="2" y="563"/>
                    <a:pt x="0" y="523"/>
                    <a:pt x="0" y="4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0"/>
            <p:cNvSpPr>
              <a:spLocks/>
            </p:cNvSpPr>
            <p:nvPr/>
          </p:nvSpPr>
          <p:spPr bwMode="gray">
            <a:xfrm>
              <a:off x="3935413" y="1814513"/>
              <a:ext cx="787400" cy="608013"/>
            </a:xfrm>
            <a:custGeom>
              <a:avLst/>
              <a:gdLst/>
              <a:ahLst/>
              <a:cxnLst>
                <a:cxn ang="0">
                  <a:pos x="1006" y="801"/>
                </a:cxn>
                <a:cxn ang="0">
                  <a:pos x="627" y="673"/>
                </a:cxn>
                <a:cxn ang="0">
                  <a:pos x="1" y="1294"/>
                </a:cxn>
                <a:cxn ang="0">
                  <a:pos x="627" y="1912"/>
                </a:cxn>
                <a:cxn ang="0">
                  <a:pos x="1103" y="1696"/>
                </a:cxn>
                <a:cxn ang="0">
                  <a:pos x="1103" y="1355"/>
                </a:cxn>
                <a:cxn ang="0">
                  <a:pos x="807" y="1643"/>
                </a:cxn>
                <a:cxn ang="0">
                  <a:pos x="627" y="1681"/>
                </a:cxn>
                <a:cxn ang="0">
                  <a:pos x="235" y="1294"/>
                </a:cxn>
                <a:cxn ang="0">
                  <a:pos x="627" y="905"/>
                </a:cxn>
                <a:cxn ang="0">
                  <a:pos x="902" y="1019"/>
                </a:cxn>
                <a:cxn ang="0">
                  <a:pos x="1145" y="1298"/>
                </a:cxn>
                <a:cxn ang="0">
                  <a:pos x="1708" y="1544"/>
                </a:cxn>
                <a:cxn ang="0">
                  <a:pos x="2477" y="777"/>
                </a:cxn>
                <a:cxn ang="0">
                  <a:pos x="1708" y="0"/>
                </a:cxn>
                <a:cxn ang="0">
                  <a:pos x="1103" y="309"/>
                </a:cxn>
                <a:cxn ang="0">
                  <a:pos x="1103" y="771"/>
                </a:cxn>
                <a:cxn ang="0">
                  <a:pos x="1708" y="244"/>
                </a:cxn>
                <a:cxn ang="0">
                  <a:pos x="2236" y="777"/>
                </a:cxn>
                <a:cxn ang="0">
                  <a:pos x="1708" y="1305"/>
                </a:cxn>
                <a:cxn ang="0">
                  <a:pos x="1365" y="1179"/>
                </a:cxn>
                <a:cxn ang="0">
                  <a:pos x="1006" y="801"/>
                </a:cxn>
              </a:cxnLst>
              <a:rect l="0" t="0" r="r" b="b"/>
              <a:pathLst>
                <a:path w="2477" h="1913">
                  <a:moveTo>
                    <a:pt x="1006" y="801"/>
                  </a:moveTo>
                  <a:cubicBezTo>
                    <a:pt x="916" y="722"/>
                    <a:pt x="771" y="674"/>
                    <a:pt x="627" y="673"/>
                  </a:cubicBezTo>
                  <a:cubicBezTo>
                    <a:pt x="283" y="672"/>
                    <a:pt x="2" y="944"/>
                    <a:pt x="1" y="1294"/>
                  </a:cubicBezTo>
                  <a:cubicBezTo>
                    <a:pt x="0" y="1638"/>
                    <a:pt x="283" y="1911"/>
                    <a:pt x="627" y="1912"/>
                  </a:cubicBezTo>
                  <a:cubicBezTo>
                    <a:pt x="820" y="1913"/>
                    <a:pt x="988" y="1834"/>
                    <a:pt x="1103" y="1696"/>
                  </a:cubicBezTo>
                  <a:cubicBezTo>
                    <a:pt x="1103" y="1355"/>
                    <a:pt x="1103" y="1355"/>
                    <a:pt x="1103" y="1355"/>
                  </a:cubicBezTo>
                  <a:cubicBezTo>
                    <a:pt x="1042" y="1461"/>
                    <a:pt x="918" y="1597"/>
                    <a:pt x="807" y="1643"/>
                  </a:cubicBezTo>
                  <a:cubicBezTo>
                    <a:pt x="751" y="1666"/>
                    <a:pt x="694" y="1681"/>
                    <a:pt x="627" y="1681"/>
                  </a:cubicBezTo>
                  <a:cubicBezTo>
                    <a:pt x="412" y="1681"/>
                    <a:pt x="235" y="1514"/>
                    <a:pt x="235" y="1294"/>
                  </a:cubicBezTo>
                  <a:cubicBezTo>
                    <a:pt x="235" y="1091"/>
                    <a:pt x="398" y="904"/>
                    <a:pt x="627" y="905"/>
                  </a:cubicBezTo>
                  <a:cubicBezTo>
                    <a:pt x="734" y="905"/>
                    <a:pt x="831" y="949"/>
                    <a:pt x="902" y="1019"/>
                  </a:cubicBezTo>
                  <a:cubicBezTo>
                    <a:pt x="976" y="1090"/>
                    <a:pt x="1090" y="1239"/>
                    <a:pt x="1145" y="1298"/>
                  </a:cubicBezTo>
                  <a:cubicBezTo>
                    <a:pt x="1285" y="1449"/>
                    <a:pt x="1486" y="1543"/>
                    <a:pt x="1708" y="1544"/>
                  </a:cubicBezTo>
                  <a:cubicBezTo>
                    <a:pt x="2132" y="1545"/>
                    <a:pt x="2477" y="1201"/>
                    <a:pt x="2477" y="777"/>
                  </a:cubicBezTo>
                  <a:cubicBezTo>
                    <a:pt x="2477" y="353"/>
                    <a:pt x="2132" y="0"/>
                    <a:pt x="1708" y="0"/>
                  </a:cubicBezTo>
                  <a:cubicBezTo>
                    <a:pt x="1461" y="0"/>
                    <a:pt x="1244" y="129"/>
                    <a:pt x="1103" y="309"/>
                  </a:cubicBezTo>
                  <a:cubicBezTo>
                    <a:pt x="1103" y="771"/>
                    <a:pt x="1103" y="771"/>
                    <a:pt x="1103" y="771"/>
                  </a:cubicBezTo>
                  <a:cubicBezTo>
                    <a:pt x="1210" y="478"/>
                    <a:pt x="1404" y="244"/>
                    <a:pt x="1708" y="244"/>
                  </a:cubicBezTo>
                  <a:cubicBezTo>
                    <a:pt x="2000" y="244"/>
                    <a:pt x="2237" y="485"/>
                    <a:pt x="2236" y="777"/>
                  </a:cubicBezTo>
                  <a:cubicBezTo>
                    <a:pt x="2235" y="1069"/>
                    <a:pt x="2000" y="1305"/>
                    <a:pt x="1708" y="1305"/>
                  </a:cubicBezTo>
                  <a:cubicBezTo>
                    <a:pt x="1578" y="1304"/>
                    <a:pt x="1457" y="1257"/>
                    <a:pt x="1365" y="1179"/>
                  </a:cubicBezTo>
                  <a:cubicBezTo>
                    <a:pt x="1251" y="1090"/>
                    <a:pt x="1124" y="901"/>
                    <a:pt x="1006" y="8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31"/>
            <p:cNvSpPr>
              <a:spLocks/>
            </p:cNvSpPr>
            <p:nvPr/>
          </p:nvSpPr>
          <p:spPr bwMode="gray">
            <a:xfrm>
              <a:off x="2652713" y="2476500"/>
              <a:ext cx="539750" cy="8826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00" y="0"/>
                </a:cxn>
                <a:cxn ang="0">
                  <a:pos x="1700" y="473"/>
                </a:cxn>
                <a:cxn ang="0">
                  <a:pos x="1429" y="286"/>
                </a:cxn>
                <a:cxn ang="0">
                  <a:pos x="642" y="286"/>
                </a:cxn>
                <a:cxn ang="0">
                  <a:pos x="642" y="1104"/>
                </a:cxn>
                <a:cxn ang="0">
                  <a:pos x="1495" y="1104"/>
                </a:cxn>
                <a:cxn ang="0">
                  <a:pos x="1495" y="1537"/>
                </a:cxn>
                <a:cxn ang="0">
                  <a:pos x="1262" y="1398"/>
                </a:cxn>
                <a:cxn ang="0">
                  <a:pos x="642" y="1398"/>
                </a:cxn>
                <a:cxn ang="0">
                  <a:pos x="642" y="2515"/>
                </a:cxn>
                <a:cxn ang="0">
                  <a:pos x="820" y="2777"/>
                </a:cxn>
                <a:cxn ang="0">
                  <a:pos x="11" y="2777"/>
                </a:cxn>
                <a:cxn ang="0">
                  <a:pos x="181" y="2515"/>
                </a:cxn>
                <a:cxn ang="0">
                  <a:pos x="181" y="291"/>
                </a:cxn>
                <a:cxn ang="0">
                  <a:pos x="0" y="0"/>
                </a:cxn>
              </a:cxnLst>
              <a:rect l="0" t="0" r="r" b="b"/>
              <a:pathLst>
                <a:path w="1700" h="2777">
                  <a:moveTo>
                    <a:pt x="0" y="0"/>
                  </a:moveTo>
                  <a:cubicBezTo>
                    <a:pt x="1700" y="0"/>
                    <a:pt x="1700" y="0"/>
                    <a:pt x="1700" y="0"/>
                  </a:cubicBezTo>
                  <a:cubicBezTo>
                    <a:pt x="1700" y="473"/>
                    <a:pt x="1700" y="473"/>
                    <a:pt x="1700" y="473"/>
                  </a:cubicBezTo>
                  <a:cubicBezTo>
                    <a:pt x="1700" y="473"/>
                    <a:pt x="1613" y="287"/>
                    <a:pt x="1429" y="286"/>
                  </a:cubicBezTo>
                  <a:cubicBezTo>
                    <a:pt x="642" y="286"/>
                    <a:pt x="642" y="286"/>
                    <a:pt x="642" y="286"/>
                  </a:cubicBezTo>
                  <a:cubicBezTo>
                    <a:pt x="642" y="1104"/>
                    <a:pt x="642" y="1104"/>
                    <a:pt x="642" y="1104"/>
                  </a:cubicBezTo>
                  <a:cubicBezTo>
                    <a:pt x="1495" y="1104"/>
                    <a:pt x="1495" y="1104"/>
                    <a:pt x="1495" y="1104"/>
                  </a:cubicBezTo>
                  <a:cubicBezTo>
                    <a:pt x="1495" y="1537"/>
                    <a:pt x="1495" y="1537"/>
                    <a:pt x="1495" y="1537"/>
                  </a:cubicBezTo>
                  <a:cubicBezTo>
                    <a:pt x="1495" y="1537"/>
                    <a:pt x="1468" y="1399"/>
                    <a:pt x="1262" y="1398"/>
                  </a:cubicBezTo>
                  <a:cubicBezTo>
                    <a:pt x="642" y="1398"/>
                    <a:pt x="642" y="1398"/>
                    <a:pt x="642" y="1398"/>
                  </a:cubicBezTo>
                  <a:cubicBezTo>
                    <a:pt x="642" y="2515"/>
                    <a:pt x="642" y="2515"/>
                    <a:pt x="642" y="2515"/>
                  </a:cubicBezTo>
                  <a:cubicBezTo>
                    <a:pt x="642" y="2679"/>
                    <a:pt x="820" y="2777"/>
                    <a:pt x="820" y="2777"/>
                  </a:cubicBezTo>
                  <a:cubicBezTo>
                    <a:pt x="11" y="2777"/>
                    <a:pt x="11" y="2777"/>
                    <a:pt x="11" y="2777"/>
                  </a:cubicBezTo>
                  <a:cubicBezTo>
                    <a:pt x="11" y="2777"/>
                    <a:pt x="181" y="2691"/>
                    <a:pt x="181" y="2515"/>
                  </a:cubicBezTo>
                  <a:cubicBezTo>
                    <a:pt x="181" y="291"/>
                    <a:pt x="181" y="291"/>
                    <a:pt x="181" y="291"/>
                  </a:cubicBezTo>
                  <a:cubicBezTo>
                    <a:pt x="181" y="10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32"/>
            <p:cNvSpPr>
              <a:spLocks/>
            </p:cNvSpPr>
            <p:nvPr/>
          </p:nvSpPr>
          <p:spPr bwMode="gray">
            <a:xfrm>
              <a:off x="3929063" y="2476500"/>
              <a:ext cx="355600" cy="1230313"/>
            </a:xfrm>
            <a:custGeom>
              <a:avLst/>
              <a:gdLst/>
              <a:ahLst/>
              <a:cxnLst>
                <a:cxn ang="0">
                  <a:pos x="257" y="0"/>
                </a:cxn>
                <a:cxn ang="0">
                  <a:pos x="1123" y="0"/>
                </a:cxn>
                <a:cxn ang="0">
                  <a:pos x="929" y="242"/>
                </a:cxn>
                <a:cxn ang="0">
                  <a:pos x="929" y="2847"/>
                </a:cxn>
                <a:cxn ang="0">
                  <a:pos x="0" y="3869"/>
                </a:cxn>
                <a:cxn ang="0">
                  <a:pos x="443" y="2847"/>
                </a:cxn>
                <a:cxn ang="0">
                  <a:pos x="443" y="242"/>
                </a:cxn>
                <a:cxn ang="0">
                  <a:pos x="257" y="0"/>
                </a:cxn>
              </a:cxnLst>
              <a:rect l="0" t="0" r="r" b="b"/>
              <a:pathLst>
                <a:path w="1123" h="3872">
                  <a:moveTo>
                    <a:pt x="257" y="0"/>
                  </a:moveTo>
                  <a:cubicBezTo>
                    <a:pt x="1123" y="0"/>
                    <a:pt x="1123" y="0"/>
                    <a:pt x="1123" y="0"/>
                  </a:cubicBezTo>
                  <a:cubicBezTo>
                    <a:pt x="1123" y="0"/>
                    <a:pt x="929" y="92"/>
                    <a:pt x="929" y="242"/>
                  </a:cubicBezTo>
                  <a:cubicBezTo>
                    <a:pt x="929" y="2847"/>
                    <a:pt x="929" y="2847"/>
                    <a:pt x="929" y="2847"/>
                  </a:cubicBezTo>
                  <a:cubicBezTo>
                    <a:pt x="929" y="3727"/>
                    <a:pt x="46" y="3872"/>
                    <a:pt x="0" y="3869"/>
                  </a:cubicBezTo>
                  <a:cubicBezTo>
                    <a:pt x="75" y="3821"/>
                    <a:pt x="442" y="3508"/>
                    <a:pt x="443" y="2847"/>
                  </a:cubicBezTo>
                  <a:cubicBezTo>
                    <a:pt x="443" y="242"/>
                    <a:pt x="443" y="242"/>
                    <a:pt x="443" y="242"/>
                  </a:cubicBezTo>
                  <a:cubicBezTo>
                    <a:pt x="444" y="100"/>
                    <a:pt x="257" y="0"/>
                    <a:pt x="25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33"/>
            <p:cNvSpPr>
              <a:spLocks/>
            </p:cNvSpPr>
            <p:nvPr/>
          </p:nvSpPr>
          <p:spPr bwMode="gray">
            <a:xfrm>
              <a:off x="4322763" y="2476500"/>
              <a:ext cx="276225" cy="8826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68" y="0"/>
                </a:cxn>
                <a:cxn ang="0">
                  <a:pos x="675" y="245"/>
                </a:cxn>
                <a:cxn ang="0">
                  <a:pos x="675" y="2514"/>
                </a:cxn>
                <a:cxn ang="0">
                  <a:pos x="868" y="2778"/>
                </a:cxn>
                <a:cxn ang="0">
                  <a:pos x="0" y="2778"/>
                </a:cxn>
                <a:cxn ang="0">
                  <a:pos x="193" y="2514"/>
                </a:cxn>
                <a:cxn ang="0">
                  <a:pos x="193" y="245"/>
                </a:cxn>
                <a:cxn ang="0">
                  <a:pos x="0" y="0"/>
                </a:cxn>
              </a:cxnLst>
              <a:rect l="0" t="0" r="r" b="b"/>
              <a:pathLst>
                <a:path w="868" h="2778">
                  <a:moveTo>
                    <a:pt x="0" y="0"/>
                  </a:moveTo>
                  <a:cubicBezTo>
                    <a:pt x="868" y="0"/>
                    <a:pt x="868" y="0"/>
                    <a:pt x="868" y="0"/>
                  </a:cubicBezTo>
                  <a:cubicBezTo>
                    <a:pt x="868" y="0"/>
                    <a:pt x="675" y="92"/>
                    <a:pt x="675" y="245"/>
                  </a:cubicBezTo>
                  <a:cubicBezTo>
                    <a:pt x="675" y="2514"/>
                    <a:pt x="675" y="2514"/>
                    <a:pt x="675" y="2514"/>
                  </a:cubicBezTo>
                  <a:cubicBezTo>
                    <a:pt x="675" y="2677"/>
                    <a:pt x="868" y="2778"/>
                    <a:pt x="868" y="2778"/>
                  </a:cubicBezTo>
                  <a:cubicBezTo>
                    <a:pt x="0" y="2778"/>
                    <a:pt x="0" y="2778"/>
                    <a:pt x="0" y="2778"/>
                  </a:cubicBezTo>
                  <a:cubicBezTo>
                    <a:pt x="0" y="2778"/>
                    <a:pt x="193" y="2677"/>
                    <a:pt x="193" y="2514"/>
                  </a:cubicBezTo>
                  <a:cubicBezTo>
                    <a:pt x="193" y="245"/>
                    <a:pt x="193" y="245"/>
                    <a:pt x="193" y="245"/>
                  </a:cubicBezTo>
                  <a:cubicBezTo>
                    <a:pt x="193" y="9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9" name="Freeform 34"/>
            <p:cNvSpPr>
              <a:spLocks/>
            </p:cNvSpPr>
            <p:nvPr/>
          </p:nvSpPr>
          <p:spPr bwMode="gray">
            <a:xfrm>
              <a:off x="4600575" y="2476500"/>
              <a:ext cx="660400" cy="882650"/>
            </a:xfrm>
            <a:custGeom>
              <a:avLst/>
              <a:gdLst/>
              <a:ahLst/>
              <a:cxnLst>
                <a:cxn ang="0">
                  <a:pos x="170" y="0"/>
                </a:cxn>
                <a:cxn ang="0">
                  <a:pos x="2079" y="0"/>
                </a:cxn>
                <a:cxn ang="0">
                  <a:pos x="1917" y="505"/>
                </a:cxn>
                <a:cxn ang="0">
                  <a:pos x="1684" y="293"/>
                </a:cxn>
                <a:cxn ang="0">
                  <a:pos x="1288" y="293"/>
                </a:cxn>
                <a:cxn ang="0">
                  <a:pos x="1288" y="2515"/>
                </a:cxn>
                <a:cxn ang="0">
                  <a:pos x="1474" y="2777"/>
                </a:cxn>
                <a:cxn ang="0">
                  <a:pos x="624" y="2777"/>
                </a:cxn>
                <a:cxn ang="0">
                  <a:pos x="808" y="2515"/>
                </a:cxn>
                <a:cxn ang="0">
                  <a:pos x="808" y="293"/>
                </a:cxn>
                <a:cxn ang="0">
                  <a:pos x="330" y="293"/>
                </a:cxn>
                <a:cxn ang="0">
                  <a:pos x="0" y="547"/>
                </a:cxn>
                <a:cxn ang="0">
                  <a:pos x="170" y="0"/>
                </a:cxn>
              </a:cxnLst>
              <a:rect l="0" t="0" r="r" b="b"/>
              <a:pathLst>
                <a:path w="2079" h="2777">
                  <a:moveTo>
                    <a:pt x="170" y="0"/>
                  </a:moveTo>
                  <a:cubicBezTo>
                    <a:pt x="2079" y="0"/>
                    <a:pt x="2079" y="0"/>
                    <a:pt x="2079" y="0"/>
                  </a:cubicBezTo>
                  <a:cubicBezTo>
                    <a:pt x="1917" y="505"/>
                    <a:pt x="1917" y="505"/>
                    <a:pt x="1917" y="505"/>
                  </a:cubicBezTo>
                  <a:cubicBezTo>
                    <a:pt x="1917" y="505"/>
                    <a:pt x="1869" y="293"/>
                    <a:pt x="1684" y="293"/>
                  </a:cubicBezTo>
                  <a:cubicBezTo>
                    <a:pt x="1288" y="293"/>
                    <a:pt x="1288" y="293"/>
                    <a:pt x="1288" y="293"/>
                  </a:cubicBezTo>
                  <a:cubicBezTo>
                    <a:pt x="1288" y="2515"/>
                    <a:pt x="1288" y="2515"/>
                    <a:pt x="1288" y="2515"/>
                  </a:cubicBezTo>
                  <a:cubicBezTo>
                    <a:pt x="1288" y="2656"/>
                    <a:pt x="1474" y="2777"/>
                    <a:pt x="1474" y="2777"/>
                  </a:cubicBezTo>
                  <a:cubicBezTo>
                    <a:pt x="624" y="2777"/>
                    <a:pt x="624" y="2777"/>
                    <a:pt x="624" y="2777"/>
                  </a:cubicBezTo>
                  <a:cubicBezTo>
                    <a:pt x="624" y="2777"/>
                    <a:pt x="809" y="2668"/>
                    <a:pt x="808" y="2515"/>
                  </a:cubicBezTo>
                  <a:cubicBezTo>
                    <a:pt x="808" y="293"/>
                    <a:pt x="808" y="293"/>
                    <a:pt x="808" y="293"/>
                  </a:cubicBezTo>
                  <a:cubicBezTo>
                    <a:pt x="330" y="293"/>
                    <a:pt x="330" y="293"/>
                    <a:pt x="330" y="293"/>
                  </a:cubicBezTo>
                  <a:cubicBezTo>
                    <a:pt x="195" y="293"/>
                    <a:pt x="0" y="547"/>
                    <a:pt x="0" y="547"/>
                  </a:cubicBezTo>
                  <a:lnTo>
                    <a:pt x="170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35"/>
            <p:cNvSpPr>
              <a:spLocks/>
            </p:cNvSpPr>
            <p:nvPr/>
          </p:nvSpPr>
          <p:spPr bwMode="gray">
            <a:xfrm>
              <a:off x="5800725" y="2476500"/>
              <a:ext cx="738188" cy="895350"/>
            </a:xfrm>
            <a:custGeom>
              <a:avLst/>
              <a:gdLst/>
              <a:ahLst/>
              <a:cxnLst>
                <a:cxn ang="0">
                  <a:pos x="1488" y="0"/>
                </a:cxn>
                <a:cxn ang="0">
                  <a:pos x="2324" y="0"/>
                </a:cxn>
                <a:cxn ang="0">
                  <a:pos x="2145" y="244"/>
                </a:cxn>
                <a:cxn ang="0">
                  <a:pos x="2145" y="1926"/>
                </a:cxn>
                <a:cxn ang="0">
                  <a:pos x="1185" y="2820"/>
                </a:cxn>
                <a:cxn ang="0">
                  <a:pos x="185" y="1926"/>
                </a:cxn>
                <a:cxn ang="0">
                  <a:pos x="185" y="244"/>
                </a:cxn>
                <a:cxn ang="0">
                  <a:pos x="0" y="0"/>
                </a:cxn>
                <a:cxn ang="0">
                  <a:pos x="861" y="0"/>
                </a:cxn>
                <a:cxn ang="0">
                  <a:pos x="669" y="244"/>
                </a:cxn>
                <a:cxn ang="0">
                  <a:pos x="669" y="1926"/>
                </a:cxn>
                <a:cxn ang="0">
                  <a:pos x="1185" y="2519"/>
                </a:cxn>
                <a:cxn ang="0">
                  <a:pos x="1677" y="1926"/>
                </a:cxn>
                <a:cxn ang="0">
                  <a:pos x="1677" y="244"/>
                </a:cxn>
                <a:cxn ang="0">
                  <a:pos x="1488" y="0"/>
                </a:cxn>
              </a:cxnLst>
              <a:rect l="0" t="0" r="r" b="b"/>
              <a:pathLst>
                <a:path w="2324" h="2820">
                  <a:moveTo>
                    <a:pt x="1488" y="0"/>
                  </a:moveTo>
                  <a:cubicBezTo>
                    <a:pt x="2324" y="0"/>
                    <a:pt x="2324" y="0"/>
                    <a:pt x="2324" y="0"/>
                  </a:cubicBezTo>
                  <a:cubicBezTo>
                    <a:pt x="2324" y="0"/>
                    <a:pt x="2145" y="94"/>
                    <a:pt x="2145" y="244"/>
                  </a:cubicBezTo>
                  <a:cubicBezTo>
                    <a:pt x="2145" y="1926"/>
                    <a:pt x="2145" y="1926"/>
                    <a:pt x="2145" y="1926"/>
                  </a:cubicBezTo>
                  <a:cubicBezTo>
                    <a:pt x="2144" y="2610"/>
                    <a:pt x="1578" y="2820"/>
                    <a:pt x="1185" y="2820"/>
                  </a:cubicBezTo>
                  <a:cubicBezTo>
                    <a:pt x="795" y="2820"/>
                    <a:pt x="184" y="2607"/>
                    <a:pt x="185" y="1926"/>
                  </a:cubicBezTo>
                  <a:cubicBezTo>
                    <a:pt x="185" y="244"/>
                    <a:pt x="185" y="244"/>
                    <a:pt x="185" y="244"/>
                  </a:cubicBezTo>
                  <a:cubicBezTo>
                    <a:pt x="185" y="94"/>
                    <a:pt x="0" y="0"/>
                    <a:pt x="0" y="0"/>
                  </a:cubicBezTo>
                  <a:cubicBezTo>
                    <a:pt x="861" y="0"/>
                    <a:pt x="861" y="0"/>
                    <a:pt x="861" y="0"/>
                  </a:cubicBezTo>
                  <a:cubicBezTo>
                    <a:pt x="861" y="0"/>
                    <a:pt x="669" y="92"/>
                    <a:pt x="669" y="244"/>
                  </a:cubicBezTo>
                  <a:cubicBezTo>
                    <a:pt x="669" y="1926"/>
                    <a:pt x="669" y="1926"/>
                    <a:pt x="669" y="1926"/>
                  </a:cubicBezTo>
                  <a:cubicBezTo>
                    <a:pt x="669" y="2285"/>
                    <a:pt x="907" y="2519"/>
                    <a:pt x="1185" y="2519"/>
                  </a:cubicBezTo>
                  <a:cubicBezTo>
                    <a:pt x="1464" y="2519"/>
                    <a:pt x="1676" y="2275"/>
                    <a:pt x="1677" y="1926"/>
                  </a:cubicBezTo>
                  <a:cubicBezTo>
                    <a:pt x="1677" y="244"/>
                    <a:pt x="1677" y="244"/>
                    <a:pt x="1677" y="244"/>
                  </a:cubicBezTo>
                  <a:cubicBezTo>
                    <a:pt x="1677" y="94"/>
                    <a:pt x="1488" y="0"/>
                    <a:pt x="1488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36"/>
            <p:cNvSpPr>
              <a:spLocks/>
            </p:cNvSpPr>
            <p:nvPr/>
          </p:nvSpPr>
          <p:spPr bwMode="gray">
            <a:xfrm>
              <a:off x="3217863" y="2476500"/>
              <a:ext cx="744538" cy="898525"/>
            </a:xfrm>
            <a:custGeom>
              <a:avLst/>
              <a:gdLst/>
              <a:ahLst/>
              <a:cxnLst>
                <a:cxn ang="0">
                  <a:pos x="1495" y="0"/>
                </a:cxn>
                <a:cxn ang="0">
                  <a:pos x="2347" y="0"/>
                </a:cxn>
                <a:cxn ang="0">
                  <a:pos x="2166" y="247"/>
                </a:cxn>
                <a:cxn ang="0">
                  <a:pos x="2166" y="1925"/>
                </a:cxn>
                <a:cxn ang="0">
                  <a:pos x="1176" y="2827"/>
                </a:cxn>
                <a:cxn ang="0">
                  <a:pos x="175" y="1925"/>
                </a:cxn>
                <a:cxn ang="0">
                  <a:pos x="174" y="247"/>
                </a:cxn>
                <a:cxn ang="0">
                  <a:pos x="0" y="0"/>
                </a:cxn>
                <a:cxn ang="0">
                  <a:pos x="860" y="0"/>
                </a:cxn>
                <a:cxn ang="0">
                  <a:pos x="661" y="247"/>
                </a:cxn>
                <a:cxn ang="0">
                  <a:pos x="660" y="1925"/>
                </a:cxn>
                <a:cxn ang="0">
                  <a:pos x="1176" y="2527"/>
                </a:cxn>
                <a:cxn ang="0">
                  <a:pos x="1678" y="1925"/>
                </a:cxn>
                <a:cxn ang="0">
                  <a:pos x="1679" y="247"/>
                </a:cxn>
                <a:cxn ang="0">
                  <a:pos x="1495" y="0"/>
                </a:cxn>
              </a:cxnLst>
              <a:rect l="0" t="0" r="r" b="b"/>
              <a:pathLst>
                <a:path w="2347" h="2827">
                  <a:moveTo>
                    <a:pt x="1495" y="0"/>
                  </a:moveTo>
                  <a:cubicBezTo>
                    <a:pt x="2347" y="0"/>
                    <a:pt x="2347" y="0"/>
                    <a:pt x="2347" y="0"/>
                  </a:cubicBezTo>
                  <a:cubicBezTo>
                    <a:pt x="2347" y="0"/>
                    <a:pt x="2166" y="98"/>
                    <a:pt x="2166" y="247"/>
                  </a:cubicBezTo>
                  <a:cubicBezTo>
                    <a:pt x="2166" y="248"/>
                    <a:pt x="2166" y="1925"/>
                    <a:pt x="2166" y="1925"/>
                  </a:cubicBezTo>
                  <a:cubicBezTo>
                    <a:pt x="2166" y="2611"/>
                    <a:pt x="1573" y="2827"/>
                    <a:pt x="1176" y="2827"/>
                  </a:cubicBezTo>
                  <a:cubicBezTo>
                    <a:pt x="786" y="2827"/>
                    <a:pt x="175" y="2608"/>
                    <a:pt x="175" y="192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4" y="97"/>
                    <a:pt x="0" y="0"/>
                    <a:pt x="0" y="0"/>
                  </a:cubicBezTo>
                  <a:cubicBezTo>
                    <a:pt x="860" y="0"/>
                    <a:pt x="860" y="0"/>
                    <a:pt x="860" y="0"/>
                  </a:cubicBezTo>
                  <a:cubicBezTo>
                    <a:pt x="860" y="0"/>
                    <a:pt x="661" y="98"/>
                    <a:pt x="661" y="247"/>
                  </a:cubicBezTo>
                  <a:cubicBezTo>
                    <a:pt x="660" y="1925"/>
                    <a:pt x="660" y="1925"/>
                    <a:pt x="660" y="1925"/>
                  </a:cubicBezTo>
                  <a:cubicBezTo>
                    <a:pt x="660" y="2280"/>
                    <a:pt x="897" y="2525"/>
                    <a:pt x="1176" y="2527"/>
                  </a:cubicBezTo>
                  <a:cubicBezTo>
                    <a:pt x="1454" y="2528"/>
                    <a:pt x="1678" y="2277"/>
                    <a:pt x="1678" y="1925"/>
                  </a:cubicBezTo>
                  <a:cubicBezTo>
                    <a:pt x="1679" y="247"/>
                    <a:pt x="1679" y="247"/>
                    <a:pt x="1679" y="247"/>
                  </a:cubicBezTo>
                  <a:cubicBezTo>
                    <a:pt x="1679" y="97"/>
                    <a:pt x="1495" y="0"/>
                    <a:pt x="1495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2" name="Freeform 37"/>
            <p:cNvSpPr>
              <a:spLocks/>
            </p:cNvSpPr>
            <p:nvPr/>
          </p:nvSpPr>
          <p:spPr bwMode="gray">
            <a:xfrm>
              <a:off x="5230813" y="2459038"/>
              <a:ext cx="568325" cy="915988"/>
            </a:xfrm>
            <a:custGeom>
              <a:avLst/>
              <a:gdLst/>
              <a:ahLst/>
              <a:cxnLst>
                <a:cxn ang="0">
                  <a:pos x="1537" y="501"/>
                </a:cxn>
                <a:cxn ang="0">
                  <a:pos x="1067" y="289"/>
                </a:cxn>
                <a:cxn ang="0">
                  <a:pos x="528" y="709"/>
                </a:cxn>
                <a:cxn ang="0">
                  <a:pos x="1042" y="1230"/>
                </a:cxn>
                <a:cxn ang="0">
                  <a:pos x="1786" y="2067"/>
                </a:cxn>
                <a:cxn ang="0">
                  <a:pos x="681" y="2885"/>
                </a:cxn>
                <a:cxn ang="0">
                  <a:pos x="162" y="2813"/>
                </a:cxn>
                <a:cxn ang="0">
                  <a:pos x="0" y="2280"/>
                </a:cxn>
                <a:cxn ang="0">
                  <a:pos x="689" y="2582"/>
                </a:cxn>
                <a:cxn ang="0">
                  <a:pos x="1311" y="2126"/>
                </a:cxn>
                <a:cxn ang="0">
                  <a:pos x="48" y="765"/>
                </a:cxn>
                <a:cxn ang="0">
                  <a:pos x="1019" y="0"/>
                </a:cxn>
                <a:cxn ang="0">
                  <a:pos x="1537" y="72"/>
                </a:cxn>
                <a:cxn ang="0">
                  <a:pos x="1537" y="501"/>
                </a:cxn>
              </a:cxnLst>
              <a:rect l="0" t="0" r="r" b="b"/>
              <a:pathLst>
                <a:path w="1788" h="2885">
                  <a:moveTo>
                    <a:pt x="1537" y="501"/>
                  </a:moveTo>
                  <a:cubicBezTo>
                    <a:pt x="1537" y="501"/>
                    <a:pt x="1416" y="290"/>
                    <a:pt x="1067" y="289"/>
                  </a:cubicBezTo>
                  <a:cubicBezTo>
                    <a:pt x="718" y="288"/>
                    <a:pt x="529" y="471"/>
                    <a:pt x="528" y="709"/>
                  </a:cubicBezTo>
                  <a:cubicBezTo>
                    <a:pt x="527" y="978"/>
                    <a:pt x="729" y="1079"/>
                    <a:pt x="1042" y="1230"/>
                  </a:cubicBezTo>
                  <a:cubicBezTo>
                    <a:pt x="1340" y="1373"/>
                    <a:pt x="1788" y="1570"/>
                    <a:pt x="1786" y="2067"/>
                  </a:cubicBezTo>
                  <a:cubicBezTo>
                    <a:pt x="1785" y="2513"/>
                    <a:pt x="1390" y="2885"/>
                    <a:pt x="681" y="2885"/>
                  </a:cubicBezTo>
                  <a:cubicBezTo>
                    <a:pt x="463" y="2884"/>
                    <a:pt x="162" y="2813"/>
                    <a:pt x="162" y="2813"/>
                  </a:cubicBezTo>
                  <a:cubicBezTo>
                    <a:pt x="0" y="2280"/>
                    <a:pt x="0" y="2280"/>
                    <a:pt x="0" y="2280"/>
                  </a:cubicBezTo>
                  <a:cubicBezTo>
                    <a:pt x="150" y="2426"/>
                    <a:pt x="416" y="2582"/>
                    <a:pt x="689" y="2582"/>
                  </a:cubicBezTo>
                  <a:cubicBezTo>
                    <a:pt x="973" y="2582"/>
                    <a:pt x="1311" y="2407"/>
                    <a:pt x="1311" y="2126"/>
                  </a:cubicBezTo>
                  <a:cubicBezTo>
                    <a:pt x="1311" y="1583"/>
                    <a:pt x="48" y="1674"/>
                    <a:pt x="48" y="765"/>
                  </a:cubicBezTo>
                  <a:cubicBezTo>
                    <a:pt x="48" y="453"/>
                    <a:pt x="266" y="0"/>
                    <a:pt x="1019" y="0"/>
                  </a:cubicBezTo>
                  <a:cubicBezTo>
                    <a:pt x="1264" y="0"/>
                    <a:pt x="1537" y="72"/>
                    <a:pt x="1537" y="72"/>
                  </a:cubicBezTo>
                  <a:lnTo>
                    <a:pt x="1537" y="50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2230302"/>
      </p:ext>
    </p:extLst>
  </p:cSld>
  <p:clrMapOvr>
    <a:masterClrMapping/>
  </p:clrMapOvr>
  <p:transition spd="slow" advTm="15000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5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70393"/>
      </p:ext>
    </p:extLst>
  </p:cSld>
  <p:clrMapOvr>
    <a:masterClrMapping/>
  </p:clrMapOvr>
  <p:transition spd="slow" advTm="15000">
    <p:wip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6" descr="TitleRed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5"/>
            <a:ext cx="9144000" cy="3639741"/>
          </a:xfrm>
          <a:prstGeom prst="rect">
            <a:avLst/>
          </a:prstGeom>
          <a:noFill/>
        </p:spPr>
      </p:pic>
      <p:grpSp>
        <p:nvGrpSpPr>
          <p:cNvPr id="2" name="Group 47"/>
          <p:cNvGrpSpPr>
            <a:grpSpLocks noChangeAspect="1"/>
          </p:cNvGrpSpPr>
          <p:nvPr userDrawn="1"/>
        </p:nvGrpSpPr>
        <p:grpSpPr bwMode="gray">
          <a:xfrm>
            <a:off x="7308874" y="139322"/>
            <a:ext cx="1647825" cy="690563"/>
            <a:chOff x="4604" y="117"/>
            <a:chExt cx="1038" cy="580"/>
          </a:xfrm>
        </p:grpSpPr>
        <p:sp>
          <p:nvSpPr>
            <p:cNvPr id="12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49"/>
            <p:cNvSpPr>
              <a:spLocks/>
            </p:cNvSpPr>
            <p:nvPr userDrawn="1"/>
          </p:nvSpPr>
          <p:spPr bwMode="gray">
            <a:xfrm>
              <a:off x="4655" y="604"/>
              <a:ext cx="26" cy="4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50"/>
            <p:cNvSpPr>
              <a:spLocks/>
            </p:cNvSpPr>
            <p:nvPr userDrawn="1"/>
          </p:nvSpPr>
          <p:spPr bwMode="gray">
            <a:xfrm>
              <a:off x="4691" y="585"/>
              <a:ext cx="30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51"/>
            <p:cNvSpPr>
              <a:spLocks noEditPoints="1"/>
            </p:cNvSpPr>
            <p:nvPr userDrawn="1"/>
          </p:nvSpPr>
          <p:spPr bwMode="gray">
            <a:xfrm>
              <a:off x="4730" y="604"/>
              <a:ext cx="32" cy="4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52"/>
            <p:cNvSpPr>
              <a:spLocks noEditPoints="1"/>
            </p:cNvSpPr>
            <p:nvPr userDrawn="1"/>
          </p:nvSpPr>
          <p:spPr bwMode="gray">
            <a:xfrm>
              <a:off x="4774" y="604"/>
              <a:ext cx="32" cy="61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53"/>
            <p:cNvSpPr>
              <a:spLocks noEditPoints="1"/>
            </p:cNvSpPr>
            <p:nvPr userDrawn="1"/>
          </p:nvSpPr>
          <p:spPr bwMode="gray">
            <a:xfrm>
              <a:off x="4815" y="591"/>
              <a:ext cx="9" cy="55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54"/>
            <p:cNvSpPr>
              <a:spLocks/>
            </p:cNvSpPr>
            <p:nvPr userDrawn="1"/>
          </p:nvSpPr>
          <p:spPr bwMode="gray">
            <a:xfrm>
              <a:off x="4836" y="604"/>
              <a:ext cx="31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55"/>
            <p:cNvSpPr>
              <a:spLocks noEditPoints="1"/>
            </p:cNvSpPr>
            <p:nvPr userDrawn="1"/>
          </p:nvSpPr>
          <p:spPr bwMode="gray">
            <a:xfrm>
              <a:off x="4876" y="604"/>
              <a:ext cx="32" cy="62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56"/>
            <p:cNvSpPr>
              <a:spLocks/>
            </p:cNvSpPr>
            <p:nvPr userDrawn="1"/>
          </p:nvSpPr>
          <p:spPr bwMode="gray">
            <a:xfrm>
              <a:off x="4939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57"/>
            <p:cNvSpPr>
              <a:spLocks noEditPoints="1"/>
            </p:cNvSpPr>
            <p:nvPr userDrawn="1"/>
          </p:nvSpPr>
          <p:spPr bwMode="gray">
            <a:xfrm>
              <a:off x="4963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58"/>
            <p:cNvSpPr>
              <a:spLocks/>
            </p:cNvSpPr>
            <p:nvPr userDrawn="1"/>
          </p:nvSpPr>
          <p:spPr bwMode="gray">
            <a:xfrm>
              <a:off x="5007" y="604"/>
              <a:ext cx="52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59"/>
            <p:cNvSpPr>
              <a:spLocks noEditPoints="1"/>
            </p:cNvSpPr>
            <p:nvPr userDrawn="1"/>
          </p:nvSpPr>
          <p:spPr bwMode="gray">
            <a:xfrm>
              <a:off x="5069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60"/>
            <p:cNvSpPr>
              <a:spLocks/>
            </p:cNvSpPr>
            <p:nvPr userDrawn="1"/>
          </p:nvSpPr>
          <p:spPr bwMode="gray">
            <a:xfrm>
              <a:off x="5113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61"/>
            <p:cNvSpPr>
              <a:spLocks/>
            </p:cNvSpPr>
            <p:nvPr userDrawn="1"/>
          </p:nvSpPr>
          <p:spPr bwMode="gray">
            <a:xfrm>
              <a:off x="5138" y="604"/>
              <a:ext cx="17" cy="42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62"/>
            <p:cNvSpPr>
              <a:spLocks noEditPoints="1"/>
            </p:cNvSpPr>
            <p:nvPr userDrawn="1"/>
          </p:nvSpPr>
          <p:spPr bwMode="gray">
            <a:xfrm>
              <a:off x="516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63"/>
            <p:cNvSpPr>
              <a:spLocks/>
            </p:cNvSpPr>
            <p:nvPr userDrawn="1"/>
          </p:nvSpPr>
          <p:spPr bwMode="gray">
            <a:xfrm>
              <a:off x="5198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64"/>
            <p:cNvSpPr>
              <a:spLocks/>
            </p:cNvSpPr>
            <p:nvPr userDrawn="1"/>
          </p:nvSpPr>
          <p:spPr bwMode="gray">
            <a:xfrm>
              <a:off x="5270" y="605"/>
              <a:ext cx="52" cy="41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65"/>
            <p:cNvSpPr>
              <a:spLocks noEditPoints="1"/>
            </p:cNvSpPr>
            <p:nvPr userDrawn="1"/>
          </p:nvSpPr>
          <p:spPr bwMode="gray">
            <a:xfrm>
              <a:off x="5329" y="591"/>
              <a:ext cx="9" cy="55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66"/>
            <p:cNvSpPr>
              <a:spLocks/>
            </p:cNvSpPr>
            <p:nvPr userDrawn="1"/>
          </p:nvSpPr>
          <p:spPr bwMode="gray">
            <a:xfrm>
              <a:off x="5350" y="595"/>
              <a:ext cx="18" cy="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67"/>
            <p:cNvSpPr>
              <a:spLocks/>
            </p:cNvSpPr>
            <p:nvPr userDrawn="1"/>
          </p:nvSpPr>
          <p:spPr bwMode="gray">
            <a:xfrm>
              <a:off x="5376" y="585"/>
              <a:ext cx="31" cy="61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68"/>
            <p:cNvSpPr>
              <a:spLocks/>
            </p:cNvSpPr>
            <p:nvPr userDrawn="1"/>
          </p:nvSpPr>
          <p:spPr bwMode="gray">
            <a:xfrm>
              <a:off x="5432" y="605"/>
              <a:ext cx="34" cy="6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69"/>
            <p:cNvSpPr>
              <a:spLocks noEditPoints="1"/>
            </p:cNvSpPr>
            <p:nvPr userDrawn="1"/>
          </p:nvSpPr>
          <p:spPr bwMode="gray">
            <a:xfrm>
              <a:off x="5470" y="604"/>
              <a:ext cx="34" cy="4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70"/>
            <p:cNvSpPr>
              <a:spLocks/>
            </p:cNvSpPr>
            <p:nvPr userDrawn="1"/>
          </p:nvSpPr>
          <p:spPr bwMode="gray">
            <a:xfrm>
              <a:off x="5514" y="605"/>
              <a:ext cx="29" cy="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71"/>
            <p:cNvSpPr>
              <a:spLocks/>
            </p:cNvSpPr>
            <p:nvPr userDrawn="1"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72"/>
            <p:cNvSpPr>
              <a:spLocks/>
            </p:cNvSpPr>
            <p:nvPr userDrawn="1"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73"/>
            <p:cNvSpPr>
              <a:spLocks/>
            </p:cNvSpPr>
            <p:nvPr userDrawn="1"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74"/>
            <p:cNvSpPr>
              <a:spLocks/>
            </p:cNvSpPr>
            <p:nvPr userDrawn="1"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75"/>
            <p:cNvSpPr>
              <a:spLocks/>
            </p:cNvSpPr>
            <p:nvPr userDrawn="1"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76"/>
            <p:cNvSpPr>
              <a:spLocks/>
            </p:cNvSpPr>
            <p:nvPr userDrawn="1"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77"/>
            <p:cNvSpPr>
              <a:spLocks/>
            </p:cNvSpPr>
            <p:nvPr userDrawn="1"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78"/>
            <p:cNvSpPr>
              <a:spLocks/>
            </p:cNvSpPr>
            <p:nvPr userDrawn="1"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1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23" y="1304119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defTabSz="914309">
              <a:spcBef>
                <a:spcPct val="0"/>
              </a:spcBef>
              <a:spcAft>
                <a:spcPct val="0"/>
              </a:spcAft>
              <a:tabLst>
                <a:tab pos="3676282" algn="l"/>
              </a:tabLst>
              <a:defRPr/>
            </a:pPr>
            <a:r>
              <a:rPr lang="en-GB" sz="4400">
                <a:solidFill>
                  <a:srgbClr val="FFFFFF"/>
                </a:solidFill>
              </a:rPr>
              <a:t>Titelmasterformat durch Klicken bearbeiten</a:t>
            </a:r>
            <a:endParaRPr lang="en-GB" sz="440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4022" y="3434418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154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323850" y="1329929"/>
            <a:ext cx="8496300" cy="17278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309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282" algn="l"/>
              </a:tabLst>
              <a:defRPr kumimoji="1" lang="en-US" altLang="ja-JP" sz="4400" kern="1200" noProof="0" smtClean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850" y="3436147"/>
            <a:ext cx="8496300" cy="1350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1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4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buNone/>
              <a:tabLst/>
              <a:defRPr sz="2400">
                <a:solidFill>
                  <a:schemeClr val="tx1"/>
                </a:solidFill>
              </a:defRPr>
            </a:lvl2pPr>
            <a:lvl3pPr marL="0" indent="0" algn="l">
              <a:buNone/>
              <a:tabLst/>
              <a:defRPr sz="2400">
                <a:solidFill>
                  <a:schemeClr val="tx1"/>
                </a:solidFill>
              </a:defRPr>
            </a:lvl3pPr>
            <a:lvl4pPr marL="0" indent="0" algn="l">
              <a:buNone/>
              <a:tabLst/>
              <a:defRPr sz="24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400">
                <a:solidFill>
                  <a:schemeClr val="tx1"/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46" name="Rechteck 45"/>
          <p:cNvSpPr/>
          <p:nvPr userDrawn="1"/>
        </p:nvSpPr>
        <p:spPr>
          <a:xfrm>
            <a:off x="4355976" y="5002020"/>
            <a:ext cx="360040" cy="1414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t" anchorCtr="0"/>
          <a:lstStyle/>
          <a:p>
            <a:pPr algn="ctr" defTabSz="914309"/>
            <a:endParaRPr lang="en-US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8044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2" descr="MiddleGray_L15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5"/>
            <a:ext cx="9144000" cy="2934891"/>
          </a:xfrm>
          <a:prstGeom prst="rect">
            <a:avLst/>
          </a:prstGeom>
          <a:noFill/>
        </p:spPr>
      </p:pic>
      <p:grpSp>
        <p:nvGrpSpPr>
          <p:cNvPr id="2" name="Group 13"/>
          <p:cNvGrpSpPr>
            <a:grpSpLocks noChangeAspect="1"/>
          </p:cNvGrpSpPr>
          <p:nvPr/>
        </p:nvGrpSpPr>
        <p:grpSpPr bwMode="gray">
          <a:xfrm>
            <a:off x="7308874" y="139322"/>
            <a:ext cx="1647825" cy="690563"/>
            <a:chOff x="4604" y="117"/>
            <a:chExt cx="1038" cy="580"/>
          </a:xfrm>
        </p:grpSpPr>
        <p:sp>
          <p:nvSpPr>
            <p:cNvPr id="23" name="AutoShape 14"/>
            <p:cNvSpPr>
              <a:spLocks noChangeAspect="1" noChangeArrowheads="1" noTextEdit="1"/>
            </p:cNvSpPr>
            <p:nvPr/>
          </p:nvSpPr>
          <p:spPr bwMode="gray">
            <a:xfrm>
              <a:off x="4604" y="117"/>
              <a:ext cx="1038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gray">
            <a:xfrm>
              <a:off x="5115" y="216"/>
              <a:ext cx="132" cy="10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gray">
            <a:xfrm>
              <a:off x="4899" y="327"/>
              <a:ext cx="91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gray">
            <a:xfrm>
              <a:off x="5114" y="327"/>
              <a:ext cx="60" cy="207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gray">
            <a:xfrm>
              <a:off x="5180" y="327"/>
              <a:ext cx="47" cy="1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9"/>
            <p:cNvSpPr>
              <a:spLocks/>
            </p:cNvSpPr>
            <p:nvPr/>
          </p:nvSpPr>
          <p:spPr bwMode="gray">
            <a:xfrm>
              <a:off x="5227" y="327"/>
              <a:ext cx="111" cy="148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20"/>
            <p:cNvSpPr>
              <a:spLocks/>
            </p:cNvSpPr>
            <p:nvPr/>
          </p:nvSpPr>
          <p:spPr bwMode="gray">
            <a:xfrm>
              <a:off x="5429" y="327"/>
              <a:ext cx="124" cy="151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21"/>
            <p:cNvSpPr>
              <a:spLocks/>
            </p:cNvSpPr>
            <p:nvPr/>
          </p:nvSpPr>
          <p:spPr bwMode="gray">
            <a:xfrm>
              <a:off x="4994" y="327"/>
              <a:ext cx="125" cy="151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22"/>
            <p:cNvSpPr>
              <a:spLocks/>
            </p:cNvSpPr>
            <p:nvPr/>
          </p:nvSpPr>
          <p:spPr bwMode="gray">
            <a:xfrm>
              <a:off x="5333" y="324"/>
              <a:ext cx="95" cy="154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323850" y="1600102"/>
            <a:ext cx="8496300" cy="75561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309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282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323850" y="2787253"/>
            <a:ext cx="8496300" cy="2052638"/>
          </a:xfrm>
        </p:spPr>
        <p:txBody>
          <a:bodyPr/>
          <a:lstStyle>
            <a:lvl1pPr>
              <a:spcBef>
                <a:spcPts val="516"/>
              </a:spcBef>
              <a:spcAft>
                <a:spcPts val="288"/>
              </a:spcAft>
              <a:buClr>
                <a:schemeClr val="tx2"/>
              </a:buClr>
              <a:buFont typeface="Wingdings" pitchFamily="2" charset="2"/>
              <a:buChar char="n"/>
              <a:defRPr sz="2400"/>
            </a:lvl1pPr>
            <a:lvl2pPr marL="269848" indent="-269848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2pPr>
            <a:lvl3pPr marL="269848" indent="-269848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9848" indent="-269848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9848" indent="-269848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43313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 +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" descr="F_Tool_Middle_Cover"/>
          <p:cNvGrpSpPr>
            <a:grpSpLocks/>
          </p:cNvGrpSpPr>
          <p:nvPr userDrawn="1"/>
        </p:nvGrpSpPr>
        <p:grpSpPr bwMode="gray">
          <a:xfrm>
            <a:off x="0" y="5"/>
            <a:ext cx="9144000" cy="2934891"/>
            <a:chOff x="0" y="0"/>
            <a:chExt cx="5760" cy="2465"/>
          </a:xfrm>
        </p:grpSpPr>
        <p:pic>
          <p:nvPicPr>
            <p:cNvPr id="21" name="Picture 12" descr="MiddleGray_L150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gray">
            <a:xfrm>
              <a:off x="0" y="0"/>
              <a:ext cx="5760" cy="2465"/>
            </a:xfrm>
            <a:prstGeom prst="rect">
              <a:avLst/>
            </a:prstGeom>
            <a:noFill/>
          </p:spPr>
        </p:pic>
        <p:grpSp>
          <p:nvGrpSpPr>
            <p:cNvPr id="3" name="Group 13"/>
            <p:cNvGrpSpPr>
              <a:grpSpLocks noChangeAspect="1"/>
            </p:cNvGrpSpPr>
            <p:nvPr/>
          </p:nvGrpSpPr>
          <p:grpSpPr bwMode="gray">
            <a:xfrm>
              <a:off x="4604" y="117"/>
              <a:ext cx="1038" cy="580"/>
              <a:chOff x="4604" y="117"/>
              <a:chExt cx="1038" cy="580"/>
            </a:xfrm>
          </p:grpSpPr>
          <p:sp>
            <p:nvSpPr>
              <p:cNvPr id="23" name="AutoShape 14"/>
              <p:cNvSpPr>
                <a:spLocks noChangeAspect="1" noChangeArrowheads="1" noTextEdit="1"/>
              </p:cNvSpPr>
              <p:nvPr/>
            </p:nvSpPr>
            <p:spPr bwMode="gray">
              <a:xfrm>
                <a:off x="4604" y="117"/>
                <a:ext cx="1038" cy="5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15"/>
              <p:cNvSpPr>
                <a:spLocks/>
              </p:cNvSpPr>
              <p:nvPr/>
            </p:nvSpPr>
            <p:spPr bwMode="gray">
              <a:xfrm>
                <a:off x="5115" y="216"/>
                <a:ext cx="132" cy="102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16"/>
              <p:cNvSpPr>
                <a:spLocks/>
              </p:cNvSpPr>
              <p:nvPr/>
            </p:nvSpPr>
            <p:spPr bwMode="gray">
              <a:xfrm>
                <a:off x="4899" y="327"/>
                <a:ext cx="91" cy="1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17"/>
              <p:cNvSpPr>
                <a:spLocks/>
              </p:cNvSpPr>
              <p:nvPr/>
            </p:nvSpPr>
            <p:spPr bwMode="gray">
              <a:xfrm>
                <a:off x="5114" y="327"/>
                <a:ext cx="60" cy="207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18"/>
              <p:cNvSpPr>
                <a:spLocks/>
              </p:cNvSpPr>
              <p:nvPr/>
            </p:nvSpPr>
            <p:spPr bwMode="gray">
              <a:xfrm>
                <a:off x="5180" y="327"/>
                <a:ext cx="47" cy="1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19"/>
              <p:cNvSpPr>
                <a:spLocks/>
              </p:cNvSpPr>
              <p:nvPr/>
            </p:nvSpPr>
            <p:spPr bwMode="gray">
              <a:xfrm>
                <a:off x="5227" y="327"/>
                <a:ext cx="111" cy="148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0"/>
              <p:cNvSpPr>
                <a:spLocks/>
              </p:cNvSpPr>
              <p:nvPr/>
            </p:nvSpPr>
            <p:spPr bwMode="gray">
              <a:xfrm>
                <a:off x="5429" y="327"/>
                <a:ext cx="124" cy="151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1"/>
              <p:cNvSpPr>
                <a:spLocks/>
              </p:cNvSpPr>
              <p:nvPr/>
            </p:nvSpPr>
            <p:spPr bwMode="gray">
              <a:xfrm>
                <a:off x="4994" y="327"/>
                <a:ext cx="125" cy="151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22"/>
              <p:cNvSpPr>
                <a:spLocks/>
              </p:cNvSpPr>
              <p:nvPr/>
            </p:nvSpPr>
            <p:spPr bwMode="gray">
              <a:xfrm>
                <a:off x="5333" y="324"/>
                <a:ext cx="95" cy="154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309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" name="Title 15"/>
          <p:cNvSpPr>
            <a:spLocks noGrp="1"/>
          </p:cNvSpPr>
          <p:nvPr>
            <p:ph type="title"/>
          </p:nvPr>
        </p:nvSpPr>
        <p:spPr bwMode="gray">
          <a:xfrm>
            <a:off x="323850" y="1600200"/>
            <a:ext cx="8496300" cy="75552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309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282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 bwMode="gray">
          <a:xfrm>
            <a:off x="323850" y="2787253"/>
            <a:ext cx="8496300" cy="2052638"/>
          </a:xfrm>
        </p:spPr>
        <p:txBody>
          <a:bodyPr/>
          <a:lstStyle>
            <a:lvl1pPr marL="357152" indent="-357152">
              <a:spcBef>
                <a:spcPts val="516"/>
              </a:spcBef>
              <a:spcAft>
                <a:spcPts val="288"/>
              </a:spcAft>
              <a:buClr>
                <a:schemeClr val="tx2"/>
              </a:buClr>
              <a:buFont typeface="+mj-lt"/>
              <a:buAutoNum type="arabicPeriod"/>
              <a:defRPr sz="2400"/>
            </a:lvl1pPr>
            <a:lvl2pPr marL="357152" indent="-357152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2pPr>
            <a:lvl3pPr marL="357152" indent="-357152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3pPr>
            <a:lvl4pPr marL="357152" indent="-357152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4pPr>
            <a:lvl5pPr marL="357152" indent="-357152">
              <a:spcBef>
                <a:spcPts val="516"/>
              </a:spcBef>
              <a:spcAft>
                <a:spcPts val="288"/>
              </a:spcAft>
              <a:buFont typeface="+mj-lt"/>
              <a:buAutoNum type="arabicPeriod"/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09487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179408" y="627474"/>
            <a:ext cx="8785225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6317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179388" y="627474"/>
            <a:ext cx="4248596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37" y="627474"/>
            <a:ext cx="4320605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5190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627474"/>
            <a:ext cx="2808436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627474"/>
            <a:ext cx="2808436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335" y="627474"/>
            <a:ext cx="2736305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945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59988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179388" y="681545"/>
            <a:ext cx="8785226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57155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5"/>
            <a:ext cx="4248598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179388" y="681545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613711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681037"/>
            <a:ext cx="4248596" cy="4158854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179388" y="627474"/>
            <a:ext cx="4248596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973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179388" y="681542"/>
            <a:ext cx="8785226" cy="4158351"/>
          </a:xfrm>
          <a:prstGeom prst="round1Rect">
            <a:avLst>
              <a:gd name="adj" fmla="val 6872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5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827683"/>
      </p:ext>
    </p:extLst>
  </p:cSld>
  <p:clrMapOvr>
    <a:masterClrMapping/>
  </p:clrMapOvr>
  <p:transition spd="slow" advTm="15000">
    <p:wip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179388" y="681037"/>
            <a:ext cx="4248596" cy="415885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37" y="627474"/>
            <a:ext cx="4320605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625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214" y="681037"/>
            <a:ext cx="2736429" cy="4158854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179388" y="627474"/>
            <a:ext cx="5832772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5607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410" y="681037"/>
            <a:ext cx="2736429" cy="415885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61" y="627474"/>
            <a:ext cx="5832773" cy="421243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208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40" y="681050"/>
            <a:ext cx="5832474" cy="4158853"/>
          </a:xfrm>
          <a:prstGeom prst="round1Rect">
            <a:avLst>
              <a:gd name="adj" fmla="val 6871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627485"/>
            <a:ext cx="2736850" cy="4212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2482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89" y="681050"/>
            <a:ext cx="5832474" cy="415885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5" y="627485"/>
            <a:ext cx="2736850" cy="4212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6462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179408" y="2841784"/>
            <a:ext cx="8785225" cy="199811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408" y="627477"/>
            <a:ext cx="8785225" cy="205230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8963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179408" y="681039"/>
            <a:ext cx="8785225" cy="1998724"/>
          </a:xfrm>
          <a:prstGeom prst="round1Rect">
            <a:avLst>
              <a:gd name="adj" fmla="val 14297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408" y="2787780"/>
            <a:ext cx="8785225" cy="2052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191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179408" y="1221605"/>
            <a:ext cx="8785225" cy="3618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4205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179388" y="1221582"/>
            <a:ext cx="4248150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37" y="1221582"/>
            <a:ext cx="4320605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52081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179389" y="1221582"/>
            <a:ext cx="2808436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221582"/>
            <a:ext cx="2808436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308" y="1221582"/>
            <a:ext cx="2736306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682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681542"/>
            <a:ext cx="4248598" cy="415835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179388" y="681542"/>
            <a:ext cx="4248598" cy="415835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6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077577"/>
      </p:ext>
    </p:extLst>
  </p:cSld>
  <p:clrMapOvr>
    <a:masterClrMapping/>
  </p:clrMapOvr>
  <p:transition spd="slow" advTm="15000">
    <p:wip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1487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179388" y="1275168"/>
            <a:ext cx="8785226" cy="3564731"/>
          </a:xfrm>
          <a:prstGeom prst="round1Rect">
            <a:avLst>
              <a:gd name="adj" fmla="val 8016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2371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275168"/>
            <a:ext cx="4248598" cy="3564731"/>
          </a:xfrm>
          <a:prstGeom prst="round1Rect">
            <a:avLst>
              <a:gd name="adj" fmla="val 8968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179388" y="1275168"/>
            <a:ext cx="4248598" cy="3564731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3486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7" y="1275168"/>
            <a:ext cx="4248596" cy="3564731"/>
          </a:xfrm>
          <a:prstGeom prst="round1Rect">
            <a:avLst>
              <a:gd name="adj" fmla="val 8968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179388" y="1221605"/>
            <a:ext cx="4248596" cy="361829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870422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179388" y="1275168"/>
            <a:ext cx="4248596" cy="356473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3446" y="1221582"/>
            <a:ext cx="4321175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953798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214" y="1275168"/>
            <a:ext cx="2736429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1221582"/>
            <a:ext cx="5832772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07259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410" y="1275168"/>
            <a:ext cx="2736429" cy="356473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2154" y="1221582"/>
            <a:ext cx="5832475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119213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g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40" y="1275168"/>
            <a:ext cx="5832474" cy="3564731"/>
          </a:xfrm>
          <a:prstGeom prst="round1Rect">
            <a:avLst>
              <a:gd name="adj" fmla="val 13923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179388" y="1221582"/>
            <a:ext cx="2736850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83804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179389" y="1275168"/>
            <a:ext cx="5832474" cy="356473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5" y="1221582"/>
            <a:ext cx="2736850" cy="361831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1307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179408" y="3111815"/>
            <a:ext cx="8785225" cy="172808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179408" y="1221583"/>
            <a:ext cx="8785225" cy="1728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79408" y="627535"/>
            <a:ext cx="8785225" cy="59406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de-DE" dirty="0" smtClean="0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2336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1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234.xml"/><Relationship Id="rId39" Type="http://schemas.openxmlformats.org/officeDocument/2006/relationships/tags" Target="../tags/tag209.xml"/><Relationship Id="rId3" Type="http://schemas.openxmlformats.org/officeDocument/2006/relationships/slideLayout" Target="../slideLayouts/slideLayout211.xml"/><Relationship Id="rId21" Type="http://schemas.openxmlformats.org/officeDocument/2006/relationships/slideLayout" Target="../slideLayouts/slideLayout229.xml"/><Relationship Id="rId34" Type="http://schemas.openxmlformats.org/officeDocument/2006/relationships/slideLayout" Target="../slideLayouts/slideLayout242.xml"/><Relationship Id="rId42" Type="http://schemas.openxmlformats.org/officeDocument/2006/relationships/image" Target="../media/image26.png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33" Type="http://schemas.openxmlformats.org/officeDocument/2006/relationships/slideLayout" Target="../slideLayouts/slideLayout241.xml"/><Relationship Id="rId38" Type="http://schemas.openxmlformats.org/officeDocument/2006/relationships/tags" Target="../tags/tag208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slideLayout" Target="../slideLayouts/slideLayout228.xml"/><Relationship Id="rId29" Type="http://schemas.openxmlformats.org/officeDocument/2006/relationships/slideLayout" Target="../slideLayouts/slideLayout237.xml"/><Relationship Id="rId41" Type="http://schemas.openxmlformats.org/officeDocument/2006/relationships/image" Target="../media/image25.emf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32" Type="http://schemas.openxmlformats.org/officeDocument/2006/relationships/slideLayout" Target="../slideLayouts/slideLayout240.xml"/><Relationship Id="rId37" Type="http://schemas.openxmlformats.org/officeDocument/2006/relationships/tags" Target="../tags/tag207.xml"/><Relationship Id="rId40" Type="http://schemas.openxmlformats.org/officeDocument/2006/relationships/oleObject" Target="../embeddings/oleObject5.bin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28" Type="http://schemas.openxmlformats.org/officeDocument/2006/relationships/slideLayout" Target="../slideLayouts/slideLayout236.xml"/><Relationship Id="rId36" Type="http://schemas.openxmlformats.org/officeDocument/2006/relationships/vmlDrawing" Target="../drawings/vmlDrawing5.v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31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slideLayout" Target="../slideLayouts/slideLayout235.xml"/><Relationship Id="rId30" Type="http://schemas.openxmlformats.org/officeDocument/2006/relationships/slideLayout" Target="../slideLayouts/slideLayout238.xml"/><Relationship Id="rId35" Type="http://schemas.openxmlformats.org/officeDocument/2006/relationships/theme" Target="../theme/theme10.xml"/><Relationship Id="rId43" Type="http://schemas.openxmlformats.org/officeDocument/2006/relationships/image" Target="../media/image27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image" Target="../media/image1.jpeg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tags" Target="../tags/tag30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tags" Target="../tags/tag29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tags" Target="../tags/tag59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34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tags" Target="../tags/tag58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theme" Target="../theme/theme3.xml"/><Relationship Id="rId40" Type="http://schemas.openxmlformats.org/officeDocument/2006/relationships/image" Target="../media/image1.jpeg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38" Type="http://schemas.openxmlformats.org/officeDocument/2006/relationships/image" Target="../media/image12.jpeg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37" Type="http://schemas.openxmlformats.org/officeDocument/2006/relationships/tags" Target="../tags/tag102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tags" Target="../tags/tag101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60.xml"/><Relationship Id="rId34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slideLayout" Target="../slideLayouts/slideLayout164.xml"/><Relationship Id="rId33" Type="http://schemas.openxmlformats.org/officeDocument/2006/relationships/slideLayout" Target="../slideLayouts/slideLayout172.xml"/><Relationship Id="rId38" Type="http://schemas.openxmlformats.org/officeDocument/2006/relationships/image" Target="../media/image12.jpeg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29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32" Type="http://schemas.openxmlformats.org/officeDocument/2006/relationships/slideLayout" Target="../slideLayouts/slideLayout171.xml"/><Relationship Id="rId37" Type="http://schemas.openxmlformats.org/officeDocument/2006/relationships/tags" Target="../tags/tag131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slideLayout" Target="../slideLayouts/slideLayout167.xml"/><Relationship Id="rId36" Type="http://schemas.openxmlformats.org/officeDocument/2006/relationships/tags" Target="../tags/tag130.xml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31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slideLayout" Target="../slideLayouts/slideLayout166.xml"/><Relationship Id="rId30" Type="http://schemas.openxmlformats.org/officeDocument/2006/relationships/slideLayout" Target="../slideLayouts/slideLayout169.xml"/><Relationship Id="rId35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78.xml"/><Relationship Id="rId10" Type="http://schemas.openxmlformats.org/officeDocument/2006/relationships/tags" Target="../tags/tag160.xml"/><Relationship Id="rId4" Type="http://schemas.openxmlformats.org/officeDocument/2006/relationships/slideLayout" Target="../slideLayouts/slideLayout177.xml"/><Relationship Id="rId9" Type="http://schemas.openxmlformats.org/officeDocument/2006/relationships/tags" Target="../tags/tag1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tags" Target="../tags/tag165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ags" Target="../tags/tag164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theme" Target="../theme/theme8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93.xml"/><Relationship Id="rId21" Type="http://schemas.openxmlformats.org/officeDocument/2006/relationships/image" Target="../media/image16.png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tags" Target="../tags/tag179.xml"/><Relationship Id="rId2" Type="http://schemas.openxmlformats.org/officeDocument/2006/relationships/slideLayout" Target="../slideLayouts/slideLayout192.xml"/><Relationship Id="rId16" Type="http://schemas.openxmlformats.org/officeDocument/2006/relationships/tags" Target="../tags/tag178.xml"/><Relationship Id="rId20" Type="http://schemas.openxmlformats.org/officeDocument/2006/relationships/image" Target="../media/image12.jpeg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5" Type="http://schemas.openxmlformats.org/officeDocument/2006/relationships/tags" Target="../tags/tag177.xml"/><Relationship Id="rId10" Type="http://schemas.openxmlformats.org/officeDocument/2006/relationships/slideLayout" Target="../slideLayouts/slideLayout200.xml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vmlDrawing" Target="../drawings/vmlDrawing1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205.xml"/><Relationship Id="rId7" Type="http://schemas.openxmlformats.org/officeDocument/2006/relationships/theme" Target="../theme/theme9.xml"/><Relationship Id="rId12" Type="http://schemas.openxmlformats.org/officeDocument/2006/relationships/image" Target="../media/image20.emf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image" Target="../media/image19.png"/><Relationship Id="rId5" Type="http://schemas.openxmlformats.org/officeDocument/2006/relationships/slideLayout" Target="../slideLayouts/slideLayout207.xml"/><Relationship Id="rId10" Type="http://schemas.openxmlformats.org/officeDocument/2006/relationships/image" Target="../media/image18.jpg"/><Relationship Id="rId4" Type="http://schemas.openxmlformats.org/officeDocument/2006/relationships/slideLayout" Target="../slideLayouts/slideLayout206.xml"/><Relationship Id="rId9" Type="http://schemas.openxmlformats.org/officeDocument/2006/relationships/tags" Target="../tags/tag1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3" descr="ContentGray20_L150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gray">
          <a:xfrm>
            <a:off x="0" y="3"/>
            <a:ext cx="9144000" cy="804863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0"/>
            <a:ext cx="78588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37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8"/>
            </p:custDataLst>
          </p:nvPr>
        </p:nvSpPr>
        <p:spPr bwMode="gray">
          <a:xfrm>
            <a:off x="179512" y="627464"/>
            <a:ext cx="8784976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23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1 FUJITSU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20" name="Picture 3" descr="Fujitsu_Logo"/>
          <p:cNvPicPr>
            <a:picLocks noChangeAspect="1" noChangeArrowheads="1"/>
          </p:cNvPicPr>
          <p:nvPr/>
        </p:nvPicPr>
        <p:blipFill>
          <a:blip r:embed="rId40" cstate="print"/>
          <a:srcRect b="22033"/>
          <a:stretch>
            <a:fillRect/>
          </a:stretch>
        </p:blipFill>
        <p:spPr bwMode="auto">
          <a:xfrm>
            <a:off x="7936775" y="139562"/>
            <a:ext cx="1037913" cy="3033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02544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867" r:id="rId35"/>
  </p:sldLayoutIdLst>
  <p:transition spd="slow" advTm="15000">
    <p:wip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32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559389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0" imgW="270" imgH="270" progId="TCLayout.ActiveDocument.1">
                  <p:embed/>
                </p:oleObj>
              </mc:Choice>
              <mc:Fallback>
                <p:oleObj name="think-cell Foli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4"/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4000" cy="1395984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8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9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21"/>
          <p:cNvSpPr/>
          <p:nvPr/>
        </p:nvSpPr>
        <p:spPr bwMode="gray">
          <a:xfrm>
            <a:off x="4928400" y="4935600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>
                <a:solidFill>
                  <a:srgbClr val="000000"/>
                </a:solidFill>
                <a:ea typeface="ＭＳ Ｐゴシック" charset="-128"/>
              </a:rPr>
              <a:t>Copyright 2017 FUJITSU</a:t>
            </a:r>
          </a:p>
        </p:txBody>
      </p:sp>
      <p:pic>
        <p:nvPicPr>
          <p:cNvPr id="13" name="Picture 3" descr="Fujitsu_Logo"/>
          <p:cNvPicPr>
            <a:picLocks noChangeAspect="1" noChangeArrowheads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664790" y="243040"/>
            <a:ext cx="1252195" cy="4990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17421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  <p:sldLayoutId id="2147483931" r:id="rId24"/>
    <p:sldLayoutId id="2147483932" r:id="rId25"/>
    <p:sldLayoutId id="2147483933" r:id="rId26"/>
    <p:sldLayoutId id="2147483934" r:id="rId27"/>
    <p:sldLayoutId id="2147483935" r:id="rId28"/>
    <p:sldLayoutId id="2147483936" r:id="rId29"/>
    <p:sldLayoutId id="2147483937" r:id="rId30"/>
    <p:sldLayoutId id="2147483938" r:id="rId31"/>
    <p:sldLayoutId id="2147483939" r:id="rId32"/>
    <p:sldLayoutId id="2147483940" r:id="rId33"/>
    <p:sldLayoutId id="2147483941" r:id="rId3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Fujitsu Sans"/>
          <a:ea typeface="+mj-ea"/>
          <a:cs typeface="Fujitsu San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Fujitsu Sans"/>
          <a:ea typeface="+mn-ea"/>
          <a:cs typeface="Fujitsu San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Fujitsu Sans"/>
          <a:ea typeface="+mn-ea"/>
          <a:cs typeface="Fujitsu San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Fujitsu Sans"/>
          <a:ea typeface="+mn-ea"/>
          <a:cs typeface="Fujitsu San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Fujitsu Sans"/>
          <a:ea typeface="+mn-ea"/>
          <a:cs typeface="Fujitsu San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Fujitsu Sans"/>
          <a:ea typeface="+mn-ea"/>
          <a:cs typeface="Fujitsu 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3" descr="ContentGray20_L150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gray">
          <a:xfrm>
            <a:off x="0" y="3"/>
            <a:ext cx="9144000" cy="804863"/>
          </a:xfrm>
          <a:prstGeom prst="rect">
            <a:avLst/>
          </a:prstGeom>
          <a:noFill/>
        </p:spPr>
      </p:pic>
      <p:grpSp>
        <p:nvGrpSpPr>
          <p:cNvPr id="3" name="Group 14"/>
          <p:cNvGrpSpPr>
            <a:grpSpLocks noChangeAspect="1"/>
          </p:cNvGrpSpPr>
          <p:nvPr/>
        </p:nvGrpSpPr>
        <p:grpSpPr bwMode="gray">
          <a:xfrm>
            <a:off x="7888297" y="59534"/>
            <a:ext cx="1176337" cy="492919"/>
            <a:chOff x="4969" y="50"/>
            <a:chExt cx="741" cy="414"/>
          </a:xfrm>
        </p:grpSpPr>
        <p:sp>
          <p:nvSpPr>
            <p:cNvPr id="27" name="AutoShape 15"/>
            <p:cNvSpPr>
              <a:spLocks noChangeAspect="1" noChangeArrowheads="1" noTextEdit="1"/>
            </p:cNvSpPr>
            <p:nvPr userDrawn="1"/>
          </p:nvSpPr>
          <p:spPr bwMode="gray">
            <a:xfrm>
              <a:off x="4969" y="50"/>
              <a:ext cx="741" cy="4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gray">
            <a:xfrm>
              <a:off x="5334" y="121"/>
              <a:ext cx="94" cy="7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gray">
            <a:xfrm>
              <a:off x="5180" y="200"/>
              <a:ext cx="65" cy="1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gray">
            <a:xfrm>
              <a:off x="5333" y="200"/>
              <a:ext cx="43" cy="148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gray">
            <a:xfrm>
              <a:off x="5380" y="200"/>
              <a:ext cx="33" cy="1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20"/>
            <p:cNvSpPr>
              <a:spLocks/>
            </p:cNvSpPr>
            <p:nvPr userDrawn="1"/>
          </p:nvSpPr>
          <p:spPr bwMode="gray">
            <a:xfrm>
              <a:off x="5414" y="200"/>
              <a:ext cx="79" cy="106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21"/>
            <p:cNvSpPr>
              <a:spLocks/>
            </p:cNvSpPr>
            <p:nvPr userDrawn="1"/>
          </p:nvSpPr>
          <p:spPr bwMode="gray">
            <a:xfrm>
              <a:off x="5558" y="200"/>
              <a:ext cx="88" cy="107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22"/>
            <p:cNvSpPr>
              <a:spLocks/>
            </p:cNvSpPr>
            <p:nvPr userDrawn="1"/>
          </p:nvSpPr>
          <p:spPr bwMode="gray">
            <a:xfrm>
              <a:off x="5248" y="200"/>
              <a:ext cx="89" cy="108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23"/>
            <p:cNvSpPr>
              <a:spLocks/>
            </p:cNvSpPr>
            <p:nvPr userDrawn="1"/>
          </p:nvSpPr>
          <p:spPr bwMode="gray">
            <a:xfrm>
              <a:off x="5489" y="198"/>
              <a:ext cx="69" cy="110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0"/>
            <a:ext cx="78588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179512" y="627464"/>
            <a:ext cx="8784976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3" name="Footer Placeholder 19"/>
          <p:cNvSpPr>
            <a:spLocks noGrp="1"/>
          </p:cNvSpPr>
          <p:nvPr>
            <p:ph type="ftr" sz="quarter" idx="3"/>
          </p:nvPr>
        </p:nvSpPr>
        <p:spPr bwMode="gray">
          <a:xfrm>
            <a:off x="4933463" y="4989919"/>
            <a:ext cx="40248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Copyright 2012 FUJITSU</a:t>
            </a:r>
          </a:p>
        </p:txBody>
      </p:sp>
    </p:spTree>
    <p:extLst>
      <p:ext uri="{BB962C8B-B14F-4D97-AF65-F5344CB8AC3E}">
        <p14:creationId xmlns:p14="http://schemas.microsoft.com/office/powerpoint/2010/main" val="2631955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</p:sldLayoutIdLst>
  <p:transition spd="slow" advTm="15000">
    <p:wip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lang="de-DE" altLang="ja-JP" sz="24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95000"/>
        </a:lnSpc>
        <a:spcBef>
          <a:spcPts val="4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3" descr="ContentGray20_L150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gray">
          <a:xfrm>
            <a:off x="0" y="12"/>
            <a:ext cx="9144000" cy="804863"/>
          </a:xfrm>
          <a:prstGeom prst="rect">
            <a:avLst/>
          </a:prstGeom>
          <a:noFill/>
        </p:spPr>
      </p:pic>
      <p:grpSp>
        <p:nvGrpSpPr>
          <p:cNvPr id="3" name="Group 14"/>
          <p:cNvGrpSpPr>
            <a:grpSpLocks noChangeAspect="1"/>
          </p:cNvGrpSpPr>
          <p:nvPr/>
        </p:nvGrpSpPr>
        <p:grpSpPr bwMode="gray">
          <a:xfrm>
            <a:off x="7888319" y="59551"/>
            <a:ext cx="1176337" cy="492919"/>
            <a:chOff x="4969" y="50"/>
            <a:chExt cx="741" cy="414"/>
          </a:xfrm>
        </p:grpSpPr>
        <p:sp>
          <p:nvSpPr>
            <p:cNvPr id="27" name="AutoShape 15"/>
            <p:cNvSpPr>
              <a:spLocks noChangeAspect="1" noChangeArrowheads="1" noTextEdit="1"/>
            </p:cNvSpPr>
            <p:nvPr userDrawn="1"/>
          </p:nvSpPr>
          <p:spPr bwMode="gray">
            <a:xfrm>
              <a:off x="4969" y="50"/>
              <a:ext cx="741" cy="4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gray">
            <a:xfrm>
              <a:off x="5334" y="121"/>
              <a:ext cx="94" cy="72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gray">
            <a:xfrm>
              <a:off x="5180" y="200"/>
              <a:ext cx="65" cy="1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18"/>
            <p:cNvSpPr>
              <a:spLocks/>
            </p:cNvSpPr>
            <p:nvPr userDrawn="1"/>
          </p:nvSpPr>
          <p:spPr bwMode="gray">
            <a:xfrm>
              <a:off x="5333" y="200"/>
              <a:ext cx="43" cy="148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9"/>
            <p:cNvSpPr>
              <a:spLocks/>
            </p:cNvSpPr>
            <p:nvPr userDrawn="1"/>
          </p:nvSpPr>
          <p:spPr bwMode="gray">
            <a:xfrm>
              <a:off x="5380" y="200"/>
              <a:ext cx="33" cy="1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20"/>
            <p:cNvSpPr>
              <a:spLocks/>
            </p:cNvSpPr>
            <p:nvPr userDrawn="1"/>
          </p:nvSpPr>
          <p:spPr bwMode="gray">
            <a:xfrm>
              <a:off x="5414" y="200"/>
              <a:ext cx="79" cy="106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21"/>
            <p:cNvSpPr>
              <a:spLocks/>
            </p:cNvSpPr>
            <p:nvPr userDrawn="1"/>
          </p:nvSpPr>
          <p:spPr bwMode="gray">
            <a:xfrm>
              <a:off x="5558" y="200"/>
              <a:ext cx="88" cy="107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22"/>
            <p:cNvSpPr>
              <a:spLocks/>
            </p:cNvSpPr>
            <p:nvPr userDrawn="1"/>
          </p:nvSpPr>
          <p:spPr bwMode="gray">
            <a:xfrm>
              <a:off x="5248" y="200"/>
              <a:ext cx="89" cy="108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23"/>
            <p:cNvSpPr>
              <a:spLocks/>
            </p:cNvSpPr>
            <p:nvPr userDrawn="1"/>
          </p:nvSpPr>
          <p:spPr bwMode="gray">
            <a:xfrm>
              <a:off x="5489" y="198"/>
              <a:ext cx="69" cy="110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79388" y="1"/>
            <a:ext cx="7858800" cy="52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282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8"/>
            </p:custDataLst>
          </p:nvPr>
        </p:nvSpPr>
        <p:spPr>
          <a:xfrm>
            <a:off x="1270000" y="95251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Line 4"/>
          <p:cNvSpPr>
            <a:spLocks noChangeShapeType="1"/>
          </p:cNvSpPr>
          <p:nvPr/>
        </p:nvSpPr>
        <p:spPr bwMode="gray">
          <a:xfrm>
            <a:off x="0" y="4974431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 lIns="91431" tIns="45715" rIns="91431" bIns="45715"/>
          <a:lstStyle/>
          <a:p>
            <a:pPr defTabSz="914309"/>
            <a:endParaRPr lang="en-US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89600"/>
            <a:ext cx="5400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309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ea typeface="ＭＳ Ｐゴシック" charset="-128"/>
              </a:rPr>
              <a:pPr algn="ctr" defTabSz="91430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4937063" y="4989919"/>
            <a:ext cx="4021200" cy="15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defTabSz="914309" fontAlgn="base"/>
            <a:r>
              <a:rPr lang="en-US" altLang="ja-JP" sz="800" dirty="0">
                <a:solidFill>
                  <a:srgbClr val="000000"/>
                </a:solidFill>
              </a:rPr>
              <a:t>Copyright 2014 FUJITSU</a:t>
            </a: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9"/>
            </p:custDataLst>
          </p:nvPr>
        </p:nvSpPr>
        <p:spPr bwMode="gray">
          <a:xfrm>
            <a:off x="179512" y="627474"/>
            <a:ext cx="8784976" cy="42124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653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  <p:sldLayoutId id="2147483763" r:id="rId33"/>
    <p:sldLayoutId id="2147483764" r:id="rId34"/>
    <p:sldLayoutId id="2147483765" r:id="rId35"/>
    <p:sldLayoutId id="2147483868" r:id="rId36"/>
  </p:sldLayoutIdLst>
  <p:hf hdr="0" dt="0"/>
  <p:txStyles>
    <p:titleStyle>
      <a:lvl1pPr algn="l" defTabSz="914309" rtl="0" eaLnBrk="1" latinLnBrk="0" hangingPunct="1">
        <a:spcBef>
          <a:spcPct val="0"/>
        </a:spcBef>
        <a:buNone/>
        <a:defRPr kumimoji="1" lang="de-DE" altLang="ja-JP" sz="32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48" indent="-269848" algn="l" defTabSz="914309" rtl="0" eaLnBrk="1" latinLnBrk="0" hangingPunct="1">
        <a:spcBef>
          <a:spcPts val="516"/>
        </a:spcBef>
        <a:spcAft>
          <a:spcPts val="288"/>
        </a:spcAft>
        <a:buClr>
          <a:schemeClr val="accent2"/>
        </a:buClr>
        <a:buFont typeface="Wingdings" pitchFamily="2" charset="2"/>
        <a:buChar char="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696" indent="-269848" algn="l" defTabSz="914309" rtl="0" eaLnBrk="1" latinLnBrk="0" hangingPunct="1">
        <a:spcBef>
          <a:spcPts val="0"/>
        </a:spcBef>
        <a:spcAft>
          <a:spcPts val="288"/>
        </a:spcAft>
        <a:buClr>
          <a:schemeClr val="tx2"/>
        </a:buClr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04" indent="-174608" algn="l" defTabSz="914309" rtl="0" eaLnBrk="1" latinLnBrk="0" hangingPunct="1">
        <a:spcBef>
          <a:spcPct val="20000"/>
        </a:spcBef>
        <a:spcAft>
          <a:spcPts val="24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6848" indent="-182545" algn="l" defTabSz="896848" rtl="0" eaLnBrk="1" latinLnBrk="0" hangingPunct="1">
        <a:spcBef>
          <a:spcPct val="20000"/>
        </a:spcBef>
        <a:spcAft>
          <a:spcPts val="216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392" indent="-182545" algn="l" defTabSz="914309" rtl="0" eaLnBrk="1" latinLnBrk="0" hangingPunct="1">
        <a:spcBef>
          <a:spcPct val="20000"/>
        </a:spcBef>
        <a:spcAft>
          <a:spcPts val="192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8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2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60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250825" y="987427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41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0" name="Group 29"/>
          <p:cNvGrpSpPr>
            <a:grpSpLocks noChangeAspect="1"/>
          </p:cNvGrpSpPr>
          <p:nvPr/>
        </p:nvGrpSpPr>
        <p:grpSpPr bwMode="auto">
          <a:xfrm>
            <a:off x="198562" y="4979671"/>
            <a:ext cx="1412502" cy="153084"/>
            <a:chOff x="126" y="4200"/>
            <a:chExt cx="976" cy="90"/>
          </a:xfrm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126" y="4203"/>
              <a:ext cx="976" cy="82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 userDrawn="1"/>
          </p:nvSpPr>
          <p:spPr bwMode="auto">
            <a:xfrm>
              <a:off x="331" y="4200"/>
              <a:ext cx="423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 dirty="0" smtClean="0">
                  <a:solidFill>
                    <a:srgbClr val="B72C15"/>
                  </a:solidFill>
                  <a:latin typeface="Fujitsu Sans" pitchFamily="34" charset="0"/>
                </a:rPr>
                <a:t>FTS PUBLIC</a:t>
              </a:r>
              <a:endParaRPr lang="de-DE" sz="1000" b="1" dirty="0" smtClean="0">
                <a:solidFill>
                  <a:srgbClr val="000000"/>
                </a:solidFill>
                <a:latin typeface="Fujitsu Sans" pitchFamily="34" charset="0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164" y="4214"/>
              <a:ext cx="87" cy="63"/>
            </a:xfrm>
            <a:custGeom>
              <a:avLst/>
              <a:gdLst>
                <a:gd name="T0" fmla="*/ 0 w 592"/>
                <a:gd name="T1" fmla="*/ 296 h 592"/>
                <a:gd name="T2" fmla="*/ 296 w 592"/>
                <a:gd name="T3" fmla="*/ 0 h 592"/>
                <a:gd name="T4" fmla="*/ 592 w 592"/>
                <a:gd name="T5" fmla="*/ 296 h 592"/>
                <a:gd name="T6" fmla="*/ 296 w 592"/>
                <a:gd name="T7" fmla="*/ 592 h 592"/>
                <a:gd name="T8" fmla="*/ 0 w 592"/>
                <a:gd name="T9" fmla="*/ 296 h 592"/>
                <a:gd name="T10" fmla="*/ 477 w 592"/>
                <a:gd name="T11" fmla="*/ 425 h 592"/>
                <a:gd name="T12" fmla="*/ 518 w 592"/>
                <a:gd name="T13" fmla="*/ 296 h 592"/>
                <a:gd name="T14" fmla="*/ 296 w 592"/>
                <a:gd name="T15" fmla="*/ 74 h 592"/>
                <a:gd name="T16" fmla="*/ 167 w 592"/>
                <a:gd name="T17" fmla="*/ 115 h 592"/>
                <a:gd name="T18" fmla="*/ 477 w 592"/>
                <a:gd name="T19" fmla="*/ 425 h 592"/>
                <a:gd name="T20" fmla="*/ 115 w 592"/>
                <a:gd name="T21" fmla="*/ 168 h 592"/>
                <a:gd name="T22" fmla="*/ 74 w 592"/>
                <a:gd name="T23" fmla="*/ 296 h 592"/>
                <a:gd name="T24" fmla="*/ 296 w 592"/>
                <a:gd name="T25" fmla="*/ 518 h 592"/>
                <a:gd name="T26" fmla="*/ 425 w 592"/>
                <a:gd name="T27" fmla="*/ 477 h 592"/>
                <a:gd name="T28" fmla="*/ 115 w 592"/>
                <a:gd name="T29" fmla="*/ 16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592">
                  <a:moveTo>
                    <a:pt x="0" y="296"/>
                  </a:moveTo>
                  <a:cubicBezTo>
                    <a:pt x="0" y="133"/>
                    <a:pt x="133" y="0"/>
                    <a:pt x="296" y="0"/>
                  </a:cubicBezTo>
                  <a:cubicBezTo>
                    <a:pt x="459" y="0"/>
                    <a:pt x="592" y="133"/>
                    <a:pt x="592" y="296"/>
                  </a:cubicBezTo>
                  <a:cubicBezTo>
                    <a:pt x="592" y="460"/>
                    <a:pt x="459" y="592"/>
                    <a:pt x="296" y="592"/>
                  </a:cubicBezTo>
                  <a:cubicBezTo>
                    <a:pt x="133" y="592"/>
                    <a:pt x="0" y="460"/>
                    <a:pt x="0" y="296"/>
                  </a:cubicBezTo>
                  <a:close/>
                  <a:moveTo>
                    <a:pt x="477" y="425"/>
                  </a:moveTo>
                  <a:cubicBezTo>
                    <a:pt x="503" y="387"/>
                    <a:pt x="518" y="342"/>
                    <a:pt x="518" y="296"/>
                  </a:cubicBezTo>
                  <a:cubicBezTo>
                    <a:pt x="518" y="174"/>
                    <a:pt x="418" y="74"/>
                    <a:pt x="296" y="74"/>
                  </a:cubicBezTo>
                  <a:cubicBezTo>
                    <a:pt x="250" y="74"/>
                    <a:pt x="205" y="89"/>
                    <a:pt x="167" y="115"/>
                  </a:cubicBezTo>
                  <a:lnTo>
                    <a:pt x="477" y="425"/>
                  </a:lnTo>
                  <a:close/>
                  <a:moveTo>
                    <a:pt x="115" y="168"/>
                  </a:moveTo>
                  <a:cubicBezTo>
                    <a:pt x="88" y="205"/>
                    <a:pt x="74" y="250"/>
                    <a:pt x="74" y="296"/>
                  </a:cubicBezTo>
                  <a:cubicBezTo>
                    <a:pt x="74" y="419"/>
                    <a:pt x="173" y="518"/>
                    <a:pt x="296" y="518"/>
                  </a:cubicBezTo>
                  <a:cubicBezTo>
                    <a:pt x="342" y="518"/>
                    <a:pt x="387" y="504"/>
                    <a:pt x="425" y="477"/>
                  </a:cubicBezTo>
                  <a:lnTo>
                    <a:pt x="115" y="168"/>
                  </a:lnTo>
                  <a:close/>
                </a:path>
              </a:pathLst>
            </a:custGeom>
            <a:solidFill>
              <a:srgbClr val="B72C1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126" y="4203"/>
              <a:ext cx="976" cy="83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ln w="57150"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7375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  <p:sldLayoutId id="2147483784" r:id="rId18"/>
    <p:sldLayoutId id="2147483785" r:id="rId19"/>
    <p:sldLayoutId id="2147483786" r:id="rId20"/>
    <p:sldLayoutId id="2147483787" r:id="rId21"/>
    <p:sldLayoutId id="2147483788" r:id="rId22"/>
    <p:sldLayoutId id="2147483789" r:id="rId23"/>
    <p:sldLayoutId id="2147483790" r:id="rId24"/>
    <p:sldLayoutId id="2147483791" r:id="rId25"/>
    <p:sldLayoutId id="2147483792" r:id="rId26"/>
    <p:sldLayoutId id="2147483793" r:id="rId27"/>
    <p:sldLayoutId id="2147483794" r:id="rId28"/>
    <p:sldLayoutId id="2147483795" r:id="rId29"/>
    <p:sldLayoutId id="2147483796" r:id="rId30"/>
    <p:sldLayoutId id="2147483797" r:id="rId31"/>
    <p:sldLayoutId id="2147483798" r:id="rId32"/>
    <p:sldLayoutId id="2147483799" r:id="rId33"/>
    <p:sldLayoutId id="2147483869" r:id="rId3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9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7"/>
            </p:custDataLst>
          </p:nvPr>
        </p:nvSpPr>
        <p:spPr bwMode="gray">
          <a:xfrm>
            <a:off x="250825" y="987427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40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3 FUJITS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0" name="Group 29"/>
          <p:cNvGrpSpPr>
            <a:grpSpLocks noChangeAspect="1"/>
          </p:cNvGrpSpPr>
          <p:nvPr/>
        </p:nvGrpSpPr>
        <p:grpSpPr bwMode="auto">
          <a:xfrm>
            <a:off x="198562" y="4979671"/>
            <a:ext cx="1412502" cy="153084"/>
            <a:chOff x="126" y="4200"/>
            <a:chExt cx="976" cy="90"/>
          </a:xfrm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126" y="4203"/>
              <a:ext cx="976" cy="82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 userDrawn="1"/>
          </p:nvSpPr>
          <p:spPr bwMode="auto">
            <a:xfrm>
              <a:off x="331" y="4200"/>
              <a:ext cx="423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 dirty="0" smtClean="0">
                  <a:solidFill>
                    <a:srgbClr val="B72C15"/>
                  </a:solidFill>
                  <a:latin typeface="Fujitsu Sans" pitchFamily="34" charset="0"/>
                </a:rPr>
                <a:t>FTS PUBLIC</a:t>
              </a:r>
              <a:endParaRPr lang="de-DE" sz="1000" b="1" dirty="0" smtClean="0">
                <a:solidFill>
                  <a:srgbClr val="000000"/>
                </a:solidFill>
                <a:latin typeface="Fujitsu Sans" pitchFamily="34" charset="0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164" y="4214"/>
              <a:ext cx="87" cy="63"/>
            </a:xfrm>
            <a:custGeom>
              <a:avLst/>
              <a:gdLst>
                <a:gd name="T0" fmla="*/ 0 w 592"/>
                <a:gd name="T1" fmla="*/ 296 h 592"/>
                <a:gd name="T2" fmla="*/ 296 w 592"/>
                <a:gd name="T3" fmla="*/ 0 h 592"/>
                <a:gd name="T4" fmla="*/ 592 w 592"/>
                <a:gd name="T5" fmla="*/ 296 h 592"/>
                <a:gd name="T6" fmla="*/ 296 w 592"/>
                <a:gd name="T7" fmla="*/ 592 h 592"/>
                <a:gd name="T8" fmla="*/ 0 w 592"/>
                <a:gd name="T9" fmla="*/ 296 h 592"/>
                <a:gd name="T10" fmla="*/ 477 w 592"/>
                <a:gd name="T11" fmla="*/ 425 h 592"/>
                <a:gd name="T12" fmla="*/ 518 w 592"/>
                <a:gd name="T13" fmla="*/ 296 h 592"/>
                <a:gd name="T14" fmla="*/ 296 w 592"/>
                <a:gd name="T15" fmla="*/ 74 h 592"/>
                <a:gd name="T16" fmla="*/ 167 w 592"/>
                <a:gd name="T17" fmla="*/ 115 h 592"/>
                <a:gd name="T18" fmla="*/ 477 w 592"/>
                <a:gd name="T19" fmla="*/ 425 h 592"/>
                <a:gd name="T20" fmla="*/ 115 w 592"/>
                <a:gd name="T21" fmla="*/ 168 h 592"/>
                <a:gd name="T22" fmla="*/ 74 w 592"/>
                <a:gd name="T23" fmla="*/ 296 h 592"/>
                <a:gd name="T24" fmla="*/ 296 w 592"/>
                <a:gd name="T25" fmla="*/ 518 h 592"/>
                <a:gd name="T26" fmla="*/ 425 w 592"/>
                <a:gd name="T27" fmla="*/ 477 h 592"/>
                <a:gd name="T28" fmla="*/ 115 w 592"/>
                <a:gd name="T29" fmla="*/ 16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592">
                  <a:moveTo>
                    <a:pt x="0" y="296"/>
                  </a:moveTo>
                  <a:cubicBezTo>
                    <a:pt x="0" y="133"/>
                    <a:pt x="133" y="0"/>
                    <a:pt x="296" y="0"/>
                  </a:cubicBezTo>
                  <a:cubicBezTo>
                    <a:pt x="459" y="0"/>
                    <a:pt x="592" y="133"/>
                    <a:pt x="592" y="296"/>
                  </a:cubicBezTo>
                  <a:cubicBezTo>
                    <a:pt x="592" y="460"/>
                    <a:pt x="459" y="592"/>
                    <a:pt x="296" y="592"/>
                  </a:cubicBezTo>
                  <a:cubicBezTo>
                    <a:pt x="133" y="592"/>
                    <a:pt x="0" y="460"/>
                    <a:pt x="0" y="296"/>
                  </a:cubicBezTo>
                  <a:close/>
                  <a:moveTo>
                    <a:pt x="477" y="425"/>
                  </a:moveTo>
                  <a:cubicBezTo>
                    <a:pt x="503" y="387"/>
                    <a:pt x="518" y="342"/>
                    <a:pt x="518" y="296"/>
                  </a:cubicBezTo>
                  <a:cubicBezTo>
                    <a:pt x="518" y="174"/>
                    <a:pt x="418" y="74"/>
                    <a:pt x="296" y="74"/>
                  </a:cubicBezTo>
                  <a:cubicBezTo>
                    <a:pt x="250" y="74"/>
                    <a:pt x="205" y="89"/>
                    <a:pt x="167" y="115"/>
                  </a:cubicBezTo>
                  <a:lnTo>
                    <a:pt x="477" y="425"/>
                  </a:lnTo>
                  <a:close/>
                  <a:moveTo>
                    <a:pt x="115" y="168"/>
                  </a:moveTo>
                  <a:cubicBezTo>
                    <a:pt x="88" y="205"/>
                    <a:pt x="74" y="250"/>
                    <a:pt x="74" y="296"/>
                  </a:cubicBezTo>
                  <a:cubicBezTo>
                    <a:pt x="74" y="419"/>
                    <a:pt x="173" y="518"/>
                    <a:pt x="296" y="518"/>
                  </a:cubicBezTo>
                  <a:cubicBezTo>
                    <a:pt x="342" y="518"/>
                    <a:pt x="387" y="504"/>
                    <a:pt x="425" y="477"/>
                  </a:cubicBezTo>
                  <a:lnTo>
                    <a:pt x="115" y="168"/>
                  </a:lnTo>
                  <a:close/>
                </a:path>
              </a:pathLst>
            </a:custGeom>
            <a:solidFill>
              <a:srgbClr val="B72C1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126" y="4203"/>
              <a:ext cx="976" cy="83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ln w="57150"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5756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  <p:sldLayoutId id="2147483826" r:id="rId26"/>
    <p:sldLayoutId id="2147483827" r:id="rId27"/>
    <p:sldLayoutId id="2147483828" r:id="rId28"/>
    <p:sldLayoutId id="2147483829" r:id="rId29"/>
    <p:sldLayoutId id="2147483830" r:id="rId30"/>
    <p:sldLayoutId id="2147483831" r:id="rId31"/>
    <p:sldLayoutId id="2147483832" r:id="rId32"/>
    <p:sldLayoutId id="2147483833" r:id="rId33"/>
    <p:sldLayoutId id="2147483870" r:id="rId3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9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9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latin typeface="Fujitsu Sans" panose="020B0404060202020204" pitchFamily="34" charset="0"/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>
              <a:solidFill>
                <a:srgbClr val="000000"/>
              </a:solidFill>
              <a:latin typeface="Fujitsu Sans" panose="020B0404060202020204" pitchFamily="34" charset="0"/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250825" y="987427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40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3" name="Footer Placeholder 110"/>
          <p:cNvSpPr txBox="1">
            <a:spLocks/>
          </p:cNvSpPr>
          <p:nvPr/>
        </p:nvSpPr>
        <p:spPr>
          <a:xfrm>
            <a:off x="4932040" y="4933384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© 2018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39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8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12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latin typeface="Fujitsu Sans" panose="020B0404060202020204" pitchFamily="34" charset="0"/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>
              <a:solidFill>
                <a:srgbClr val="000000"/>
              </a:solidFill>
              <a:latin typeface="Fujitsu Sans" panose="020B0404060202020204" pitchFamily="34" charset="0"/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250825" y="987426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9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3" name="Footer Placeholder 110"/>
          <p:cNvSpPr txBox="1">
            <a:spLocks/>
          </p:cNvSpPr>
          <p:nvPr/>
        </p:nvSpPr>
        <p:spPr>
          <a:xfrm>
            <a:off x="4932040" y="4933384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© 2018 FUJITSU</a:t>
            </a: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63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60" r:id="rId8"/>
    <p:sldLayoutId id="2147483873" r:id="rId9"/>
    <p:sldLayoutId id="2147483906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246494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18" imgW="306" imgH="306" progId="TCLayout.ActiveDocument.1">
                  <p:embed/>
                </p:oleObj>
              </mc:Choice>
              <mc:Fallback>
                <p:oleObj name="think-cell Folie" r:id="rId1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8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GB" noProof="0" dirty="0"/>
          </a:p>
        </p:txBody>
      </p:sp>
      <p:sp>
        <p:nvSpPr>
          <p:cNvPr id="7" name="VCT_Marker_ID_7" hidden="1"/>
          <p:cNvSpPr/>
          <p:nvPr>
            <p:custDataLst>
              <p:tags r:id="rId16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GB" altLang="ja-JP" sz="80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ja-JP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250825" y="987426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 bwMode="gray"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Copyright 2017 FUJITSU</a:t>
            </a:r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21" name="Picture 3" descr="Fujitsu_Logo"/>
          <p:cNvPicPr>
            <a:picLocks noChangeAspect="1" noChangeArrowheads="1"/>
          </p:cNvPicPr>
          <p:nvPr/>
        </p:nvPicPr>
        <p:blipFill>
          <a:blip r:embed="rId21" cstate="print"/>
          <a:srcRect b="20259"/>
          <a:stretch>
            <a:fillRect/>
          </a:stretch>
        </p:blipFill>
        <p:spPr bwMode="gray">
          <a:xfrm>
            <a:off x="7664792" y="243040"/>
            <a:ext cx="1252195" cy="4990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94651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61" r:id="rId7"/>
    <p:sldLayoutId id="2147483862" r:id="rId8"/>
    <p:sldLayoutId id="2147483866" r:id="rId9"/>
    <p:sldLayoutId id="2147483905" r:id="rId10"/>
    <p:sldLayoutId id="2147483903" r:id="rId11"/>
    <p:sldLayoutId id="2147483904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7" y="72570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5546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8"/>
            </p:custDataLst>
          </p:nvPr>
        </p:nvSpPr>
        <p:spPr>
          <a:xfrm>
            <a:off x="1270002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3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914130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>
                <a:solidFill>
                  <a:srgbClr val="000000"/>
                </a:solidFill>
                <a:ea typeface="ＭＳ Ｐゴシック" charset="-128"/>
              </a:rPr>
              <a:pPr algn="ctr" defTabSz="91413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250827" y="987427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 lIns="91416" tIns="45708" rIns="91416" bIns="45708"/>
          <a:lstStyle/>
          <a:p>
            <a:pPr defTabSz="914130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Rectangle 21"/>
          <p:cNvSpPr/>
          <p:nvPr/>
        </p:nvSpPr>
        <p:spPr bwMode="gray">
          <a:xfrm>
            <a:off x="4928400" y="4935600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defTabSz="914130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>
                <a:solidFill>
                  <a:srgbClr val="000000"/>
                </a:solidFill>
                <a:ea typeface="ＭＳ Ｐゴシック" charset="-128"/>
              </a:rPr>
              <a:t>Copyright 2016 FUJITSU</a:t>
            </a:r>
          </a:p>
        </p:txBody>
      </p:sp>
      <p:pic>
        <p:nvPicPr>
          <p:cNvPr id="13" name="Picture 3" descr="Fujitsu_Logo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4804" y="243040"/>
            <a:ext cx="1252195" cy="499082"/>
          </a:xfrm>
          <a:prstGeom prst="rect">
            <a:avLst/>
          </a:prstGeom>
          <a:noFill/>
        </p:spPr>
      </p:pic>
      <p:pic>
        <p:nvPicPr>
          <p:cNvPr id="10" name="Picture 5" descr="SD_INTERNAL USE ONLY2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252001" y="4991487"/>
            <a:ext cx="1139552" cy="1362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4" name="Bild 13" descr="Unbenannt-1.jp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2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11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3" r:id="rId3"/>
    <p:sldLayoutId id="2147483864" r:id="rId4"/>
    <p:sldLayoutId id="2147483865" r:id="rId5"/>
    <p:sldLayoutId id="2147483874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130" rtl="0" eaLnBrk="1" latinLnBrk="0" hangingPunct="1">
        <a:lnSpc>
          <a:spcPct val="90000"/>
        </a:lnSpc>
        <a:spcBef>
          <a:spcPct val="0"/>
        </a:spcBef>
        <a:buNone/>
        <a:tabLst>
          <a:tab pos="2870924" algn="l"/>
          <a:tab pos="3675546" algn="l"/>
        </a:tabLst>
        <a:defRPr kumimoji="1" lang="de-DE" altLang="ja-JP" sz="2800" kern="1200" dirty="0" smtClean="0">
          <a:solidFill>
            <a:schemeClr val="tx1"/>
          </a:solidFill>
          <a:latin typeface="Fujitsu Sans"/>
          <a:ea typeface="+mj-ea"/>
          <a:cs typeface="Fujitsu Sans"/>
        </a:defRPr>
      </a:lvl1pPr>
    </p:titleStyle>
    <p:bodyStyle>
      <a:lvl1pPr marL="269801" indent="-269801" algn="l" defTabSz="91413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Fujitsu Sans"/>
          <a:ea typeface="+mn-ea"/>
          <a:cs typeface="Fujitsu Sans"/>
        </a:defRPr>
      </a:lvl1pPr>
      <a:lvl2pPr marL="539588" indent="-269801" algn="l" defTabSz="91413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Fujitsu Sans"/>
          <a:ea typeface="+mn-ea"/>
          <a:cs typeface="Fujitsu Sans"/>
        </a:defRPr>
      </a:lvl2pPr>
      <a:lvl3pPr marL="714159" indent="-174577" algn="l" defTabSz="91413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Fujitsu Sans"/>
          <a:ea typeface="+mn-ea"/>
          <a:cs typeface="Fujitsu Sans"/>
        </a:defRPr>
      </a:lvl3pPr>
      <a:lvl4pPr marL="896668" indent="-182509" algn="l" defTabSz="89666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Fujitsu Sans"/>
          <a:ea typeface="+mn-ea"/>
          <a:cs typeface="Fujitsu Sans"/>
        </a:defRPr>
      </a:lvl4pPr>
      <a:lvl5pPr marL="1079176" indent="-182509" algn="l" defTabSz="91413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Fujitsu Sans"/>
          <a:ea typeface="+mn-ea"/>
          <a:cs typeface="Fujitsu Sans"/>
        </a:defRPr>
      </a:lvl5pPr>
      <a:lvl6pPr marL="251384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86.xml"/><Relationship Id="rId7" Type="http://schemas.openxmlformats.org/officeDocument/2006/relationships/image" Target="../media/image27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179.xml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tags" Target="../tags/tag2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11" Type="http://schemas.openxmlformats.org/officeDocument/2006/relationships/image" Target="../media/image39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slideLayout" Target="../slideLayouts/slideLayout179.xml"/><Relationship Id="rId1" Type="http://schemas.openxmlformats.org/officeDocument/2006/relationships/tags" Target="../tags/tag23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7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3507854"/>
            <a:ext cx="8642356" cy="864096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Роль частного облака в развитии цифровой экономики в муниципальном образовании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250" y="2067680"/>
            <a:ext cx="8642926" cy="864109"/>
          </a:xfrm>
        </p:spPr>
        <p:txBody>
          <a:bodyPr/>
          <a:lstStyle/>
          <a:p>
            <a:r>
              <a:rPr lang="ru-RU" sz="2400" dirty="0" smtClean="0"/>
              <a:t>Кирилл Савенков, </a:t>
            </a:r>
            <a:r>
              <a:rPr lang="en-US" sz="2400" dirty="0" smtClean="0"/>
              <a:t>Fujitsu</a:t>
            </a:r>
          </a:p>
          <a:p>
            <a:r>
              <a:rPr lang="ru-RU" sz="2400" dirty="0" smtClean="0"/>
              <a:t>Менеджер по работе с партнерами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04956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577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 anchor="b" anchorCtr="0"/>
          <a:lstStyle/>
          <a:p>
            <a:r>
              <a:rPr lang="ru-RU" dirty="0" smtClean="0"/>
              <a:t>Развитие моделей управления</a:t>
            </a:r>
            <a:endParaRPr lang="en-US" dirty="0"/>
          </a:p>
        </p:txBody>
      </p:sp>
      <p:pic>
        <p:nvPicPr>
          <p:cNvPr id="16" name="Picture 3" descr="Fujitsu_Logo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664790" y="243040"/>
            <a:ext cx="1252195" cy="499082"/>
          </a:xfrm>
          <a:prstGeom prst="rect">
            <a:avLst/>
          </a:prstGeom>
          <a:noFill/>
        </p:spPr>
      </p:pic>
      <p:grpSp>
        <p:nvGrpSpPr>
          <p:cNvPr id="7" name="Group 6"/>
          <p:cNvGrpSpPr/>
          <p:nvPr/>
        </p:nvGrpSpPr>
        <p:grpSpPr>
          <a:xfrm>
            <a:off x="107504" y="915566"/>
            <a:ext cx="9829092" cy="3708412"/>
            <a:chOff x="107504" y="915566"/>
            <a:chExt cx="9829092" cy="3708412"/>
          </a:xfrm>
        </p:grpSpPr>
        <p:grpSp>
          <p:nvGrpSpPr>
            <p:cNvPr id="3" name="Group 2"/>
            <p:cNvGrpSpPr/>
            <p:nvPr/>
          </p:nvGrpSpPr>
          <p:grpSpPr>
            <a:xfrm>
              <a:off x="107504" y="915566"/>
              <a:ext cx="9829092" cy="3708412"/>
              <a:chOff x="107504" y="915566"/>
              <a:chExt cx="9829092" cy="3824642"/>
            </a:xfrm>
          </p:grpSpPr>
          <p:graphicFrame>
            <p:nvGraphicFramePr>
              <p:cNvPr id="23" name="Chart 22"/>
              <p:cNvGraphicFramePr/>
              <p:nvPr>
                <p:extLst>
                  <p:ext uri="{D42A27DB-BD31-4B8C-83A1-F6EECF244321}">
                    <p14:modId xmlns:p14="http://schemas.microsoft.com/office/powerpoint/2010/main" val="3524217227"/>
                  </p:ext>
                </p:extLst>
              </p:nvPr>
            </p:nvGraphicFramePr>
            <p:xfrm>
              <a:off x="107504" y="915566"/>
              <a:ext cx="9829092" cy="382464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sp>
            <p:nvSpPr>
              <p:cNvPr id="24" name="TextBox 23"/>
              <p:cNvSpPr txBox="1"/>
              <p:nvPr/>
            </p:nvSpPr>
            <p:spPr>
              <a:xfrm>
                <a:off x="7700794" y="2772188"/>
                <a:ext cx="13357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A30B1A"/>
                    </a:solidFill>
                    <a:latin typeface="Fujitsu Sans" panose="020B0404060202020204" pitchFamily="34" charset="0"/>
                  </a:rPr>
                  <a:t>Off-premise</a:t>
                </a:r>
                <a:endParaRPr lang="en-US" sz="1600" dirty="0">
                  <a:solidFill>
                    <a:srgbClr val="A30B1A"/>
                  </a:solidFill>
                  <a:latin typeface="Fujitsu Sans" panose="020B0404060202020204" pitchFamily="34" charset="0"/>
                </a:endParaRPr>
              </a:p>
            </p:txBody>
          </p:sp>
        </p:grpSp>
        <p:sp>
          <p:nvSpPr>
            <p:cNvPr id="5" name="TextBox 4"/>
            <p:cNvSpPr txBox="1"/>
            <p:nvPr/>
          </p:nvSpPr>
          <p:spPr>
            <a:xfrm>
              <a:off x="7596336" y="4083918"/>
              <a:ext cx="136815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sz="900" dirty="0">
                  <a:solidFill>
                    <a:srgbClr val="000000"/>
                  </a:solidFill>
                  <a:latin typeface="Fujitsu Sans" panose="020B0404060202020204" pitchFamily="34" charset="0"/>
                </a:rPr>
                <a:t>Source: Gartner</a:t>
              </a:r>
              <a:endParaRPr lang="en-US" sz="900" dirty="0">
                <a:solidFill>
                  <a:srgbClr val="000000"/>
                </a:solidFill>
                <a:latin typeface="Fujitsu Sans" panose="020B040406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084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22747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8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pic>
        <p:nvPicPr>
          <p:cNvPr id="5" name="Bild 4" descr="7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pic>
        <p:nvPicPr>
          <p:cNvPr id="6" name="Bild 5" descr="6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pic>
        <p:nvPicPr>
          <p:cNvPr id="7" name="Bild 6" descr="5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pic>
        <p:nvPicPr>
          <p:cNvPr id="8" name="Bild 7" descr="4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pic>
        <p:nvPicPr>
          <p:cNvPr id="9" name="Bild 8" descr="3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pic>
        <p:nvPicPr>
          <p:cNvPr id="10" name="Bild 9" descr="2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pic>
        <p:nvPicPr>
          <p:cNvPr id="11" name="Bild 10" descr="1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56" y="574382"/>
            <a:ext cx="7704000" cy="4333500"/>
          </a:xfrm>
          <a:prstGeom prst="rect">
            <a:avLst/>
          </a:prstGeom>
        </p:spPr>
      </p:pic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250825" y="72558"/>
            <a:ext cx="7704586" cy="770953"/>
          </a:xfrm>
        </p:spPr>
        <p:txBody>
          <a:bodyPr/>
          <a:lstStyle/>
          <a:p>
            <a:r>
              <a:rPr lang="ru-RU" sz="2400" dirty="0" smtClean="0"/>
              <a:t>Облако, как способ наведения порядка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225918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имущества стандартизации</a:t>
            </a:r>
            <a:endParaRPr lang="de-DE" dirty="0"/>
          </a:p>
        </p:txBody>
      </p:sp>
      <p:pic>
        <p:nvPicPr>
          <p:cNvPr id="45" name="Grafik 5" descr="2048_Container_Ship_lpr.jpg"/>
          <p:cNvPicPr/>
          <p:nvPr/>
        </p:nvPicPr>
        <p:blipFill>
          <a:blip r:embed="rId3" cstate="print"/>
          <a:srcRect l="14095" r="23208"/>
          <a:stretch>
            <a:fillRect/>
          </a:stretch>
        </p:blipFill>
        <p:spPr>
          <a:xfrm>
            <a:off x="5617486" y="843558"/>
            <a:ext cx="3526514" cy="3959218"/>
          </a:xfrm>
          <a:prstGeom prst="round1Rect">
            <a:avLst>
              <a:gd name="adj" fmla="val 13397"/>
            </a:avLst>
          </a:prstGeom>
        </p:spPr>
      </p:pic>
      <p:sp>
        <p:nvSpPr>
          <p:cNvPr id="58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32289" y="858348"/>
            <a:ext cx="5042221" cy="395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90513" indent="-290513" defTabSz="457200" fontAlgn="base">
              <a:spcBef>
                <a:spcPts val="8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kumimoji="1" lang="ru-RU" sz="1600" kern="0" dirty="0">
                <a:solidFill>
                  <a:srgbClr val="000000"/>
                </a:solidFill>
              </a:rPr>
              <a:t>Стандартизованные структуры помогают нам экономить время, силы и средства</a:t>
            </a:r>
            <a:endParaRPr kumimoji="1" lang="de-DE" sz="1600" kern="0" dirty="0">
              <a:solidFill>
                <a:srgbClr val="000000"/>
              </a:solidFill>
            </a:endParaRPr>
          </a:p>
          <a:p>
            <a:pPr marL="290513" indent="-290513" defTabSz="457200" fontAlgn="base">
              <a:spcBef>
                <a:spcPts val="8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kumimoji="1" lang="ru-RU" sz="1600" kern="0" dirty="0">
                <a:solidFill>
                  <a:srgbClr val="000000"/>
                </a:solidFill>
              </a:rPr>
              <a:t>Стандарты – основа индустриальных процессов</a:t>
            </a:r>
            <a:endParaRPr kumimoji="1" lang="de-DE" sz="1600" kern="0" dirty="0">
              <a:solidFill>
                <a:srgbClr val="000000"/>
              </a:solidFill>
            </a:endParaRPr>
          </a:p>
          <a:p>
            <a:pPr marL="290513" indent="-290513" defTabSz="457200">
              <a:spcBef>
                <a:spcPts val="8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kumimoji="1" lang="ru-RU" sz="1600" kern="0" dirty="0">
                <a:solidFill>
                  <a:srgbClr val="000000"/>
                </a:solidFill>
              </a:rPr>
              <a:t>Устоявшиеся стандарты открывают простор для инноваций и гибкости</a:t>
            </a:r>
            <a:endParaRPr kumimoji="1" lang="de-DE" sz="1600" kern="0" dirty="0">
              <a:solidFill>
                <a:srgbClr val="000000"/>
              </a:solidFill>
            </a:endParaRPr>
          </a:p>
          <a:p>
            <a:pPr marL="290513" indent="-290513" defTabSz="457200">
              <a:spcBef>
                <a:spcPts val="8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kumimoji="1" lang="ru-RU" sz="1600" kern="0" dirty="0">
                <a:solidFill>
                  <a:srgbClr val="000000"/>
                </a:solidFill>
              </a:rPr>
              <a:t>Четкое разделение специализаций позволяет организовать более продуктивное разделение труда</a:t>
            </a:r>
            <a:endParaRPr kumimoji="1" lang="de-DE" sz="1600" kern="0" dirty="0">
              <a:solidFill>
                <a:srgbClr val="000000"/>
              </a:solidFill>
            </a:endParaRPr>
          </a:p>
          <a:p>
            <a:pPr marL="747713" lvl="1" indent="-290513" defTabSz="457200">
              <a:spcBef>
                <a:spcPts val="8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kumimoji="1" lang="ru-RU" sz="1600" kern="0" dirty="0">
                <a:solidFill>
                  <a:srgbClr val="000000"/>
                </a:solidFill>
              </a:rPr>
              <a:t>Возможно переложить отдельные задачи на специализированных внешних </a:t>
            </a:r>
            <a:r>
              <a:rPr kumimoji="1" lang="ru-RU" sz="1600" kern="0" dirty="0" err="1">
                <a:solidFill>
                  <a:srgbClr val="000000"/>
                </a:solidFill>
              </a:rPr>
              <a:t>сервис-провайдеров</a:t>
            </a:r>
            <a:endParaRPr kumimoji="1" lang="de-DE" sz="1600" kern="0" dirty="0">
              <a:solidFill>
                <a:srgbClr val="000000"/>
              </a:solidFill>
            </a:endParaRPr>
          </a:p>
          <a:p>
            <a:pPr marL="290513" indent="-290513" defTabSz="457200" fontAlgn="base">
              <a:spcBef>
                <a:spcPts val="800"/>
              </a:spcBef>
              <a:spcAft>
                <a:spcPct val="10000"/>
              </a:spcAft>
              <a:buClr>
                <a:srgbClr val="A30B1A"/>
              </a:buClr>
              <a:buFont typeface="Wingdings" pitchFamily="2" charset="2"/>
              <a:buChar char="n"/>
              <a:defRPr/>
            </a:pPr>
            <a:r>
              <a:rPr kumimoji="1" lang="ru-RU" sz="1600" kern="0" dirty="0">
                <a:solidFill>
                  <a:srgbClr val="000000"/>
                </a:solidFill>
              </a:rPr>
              <a:t>Только стандарты позволят вам определить, насколько вы продвинулись в своей области</a:t>
            </a:r>
            <a:endParaRPr kumimoji="1" lang="de-DE" sz="14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778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0000">
        <p:fade/>
      </p:transition>
    </mc:Choice>
    <mc:Fallback>
      <p:transition spd="med" advTm="1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иповые финансовые выгоды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872133"/>
            <a:ext cx="5040560" cy="4057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320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9301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0000">
        <p:fade/>
      </p:transition>
    </mc:Choice>
    <mc:Fallback>
      <p:transition spd="med" advTm="1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4-3_red.potx"/>
  <p:tag name="VCTMASTER" val="Fujitsu Master 4-3 red"/>
  <p:tag name="VCT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16-9_red.potx"/>
  <p:tag name="VCTMASTER" val="Fujitsu Master 16-9 red"/>
  <p:tag name="VCTORDER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16-9_red.potx"/>
  <p:tag name="VCTMASTER" val="Fujitsu Master 16-9 red"/>
  <p:tag name="VCTORDER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16-9_red.potx"/>
  <p:tag name="VCTMASTER" val="Master 16-9_red"/>
  <p:tag name="VCTORDER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JRby8_BUe.3bjNBu2T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4-3 red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4-3"/>
  <p:tag name="VCTOR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ex_UJ010qd4HQ7Z313W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wWCR0pv0aRSfs6nPKN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RAN3XJz0G0U9BnfW.jW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uyAaelKkqNQCI50kf8V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HtTb4IiUKlglO3lrAza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7fOM2x0GD1whXhBdr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HtTb4IiUKlglO3lrAz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7fOM2x0GD1whXhBdr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HtTb4IiUKlglO3lrAza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7fOM2x0GD1whXhBdr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HtTb4IiUKlglO3lrAza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7fOM2x0GD1whXhBdr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7fOM2x0GD1whXhBdrp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7fOM2x0GD1whXhBdr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heme/theme1.xml><?xml version="1.0" encoding="utf-8"?>
<a:theme xmlns:a="http://schemas.openxmlformats.org/drawingml/2006/main" name="Master 4-3_red_03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Master 16-9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ujitsu Master 4-3 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Master 4-3 Fujitsu external_2012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buClr>
            <a:schemeClr val="accent2"/>
          </a:buClr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Master-16-9-RED-FTS Public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_Master-16-9-RED-FTS Public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Master-16-9-RED-Fujitsu Internal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1_Master-16-9-RED-Fujitsu Internal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4_Fujitsu Master 16-9 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2_Master 16-9_red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401</TotalTime>
  <Words>100</Words>
  <Application>Microsoft Office PowerPoint</Application>
  <PresentationFormat>On-screen Show (16:9)</PresentationFormat>
  <Paragraphs>22</Paragraphs>
  <Slides>6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Master 4-3_red_03</vt:lpstr>
      <vt:lpstr>Fujitsu Master 4-3 red</vt:lpstr>
      <vt:lpstr>1_Master 4-3 Fujitsu external_2012</vt:lpstr>
      <vt:lpstr>Master-16-9-RED-FTS Public</vt:lpstr>
      <vt:lpstr>1_Master-16-9-RED-FTS Public</vt:lpstr>
      <vt:lpstr>Master-16-9-RED-Fujitsu Internal</vt:lpstr>
      <vt:lpstr>1_Master-16-9-RED-Fujitsu Internal</vt:lpstr>
      <vt:lpstr>4_Fujitsu Master 16-9 red</vt:lpstr>
      <vt:lpstr>2_Master 16-9_red</vt:lpstr>
      <vt:lpstr>Master 16-9_red</vt:lpstr>
      <vt:lpstr>think-cell Folie</vt:lpstr>
      <vt:lpstr>Роль частного облака в развитии цифровой экономики в муниципальном образовании</vt:lpstr>
      <vt:lpstr>Развитие моделей управления</vt:lpstr>
      <vt:lpstr>Облако, как способ наведения порядка</vt:lpstr>
      <vt:lpstr>Преимущества стандартизации</vt:lpstr>
      <vt:lpstr>Типовые финансовые выгоды</vt:lpstr>
      <vt:lpstr>PowerPoint Presentation</vt:lpstr>
    </vt:vector>
  </TitlesOfParts>
  <Company>Fujitsu Technology Solu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olution of IT infrastructures</dc:title>
  <dc:creator>Savenkov, Kirill</dc:creator>
  <cp:lastModifiedBy>Savenkov, Kirill</cp:lastModifiedBy>
  <cp:revision>15</cp:revision>
  <dcterms:created xsi:type="dcterms:W3CDTF">2019-01-24T11:14:12Z</dcterms:created>
  <dcterms:modified xsi:type="dcterms:W3CDTF">2019-02-08T07:56:01Z</dcterms:modified>
</cp:coreProperties>
</file>